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notesSlides/notesSlide1.xml" ContentType="application/vnd.openxmlformats-officedocument.presentationml.notesSlide+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notesSlides/notesSlide4.xml" ContentType="application/vnd.openxmlformats-officedocument.presentationml.notesSlide+xml"/>
  <Override PartName="/ppt/tags/tag110.xml" ContentType="application/vnd.openxmlformats-officedocument.presentationml.tags+xml"/>
  <Override PartName="/ppt/notesSlides/notesSlide5.xml" ContentType="application/vnd.openxmlformats-officedocument.presentationml.notesSlide+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notesSlides/notesSlide7.xml" ContentType="application/vnd.openxmlformats-officedocument.presentationml.notesSlide+xml"/>
  <Override PartName="/ppt/tags/tag113.xml" ContentType="application/vnd.openxmlformats-officedocument.presentationml.tags+xml"/>
  <Override PartName="/ppt/notesSlides/notesSlide8.xml" ContentType="application/vnd.openxmlformats-officedocument.presentationml.notesSlide+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notesSlides/notesSlide10.xml" ContentType="application/vnd.openxmlformats-officedocument.presentationml.notesSlide+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notesSlides/notesSlide12.xml" ContentType="application/vnd.openxmlformats-officedocument.presentationml.notesSlide+xml"/>
  <Override PartName="/ppt/tags/tag118.xml" ContentType="application/vnd.openxmlformats-officedocument.presentationml.tags+xml"/>
  <Override PartName="/ppt/notesSlides/notesSlide1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4.xml" ContentType="application/vnd.openxmlformats-officedocument.presentationml.notesSlide+xml"/>
  <Override PartName="/ppt/tags/tag126.xml" ContentType="application/vnd.openxmlformats-officedocument.presentationml.tags+xml"/>
  <Override PartName="/ppt/notesSlides/notesSlide15.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6.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7.xml" ContentType="application/vnd.openxmlformats-officedocument.presentationml.notesSlide+xml"/>
  <Override PartName="/ppt/tags/tag134.xml" ContentType="application/vnd.openxmlformats-officedocument.presentationml.tags+xml"/>
  <Override PartName="/ppt/notesSlides/notesSlide18.xml" ContentType="application/vnd.openxmlformats-officedocument.presentationml.notesSlide+xml"/>
  <Override PartName="/ppt/tags/tag135.xml" ContentType="application/vnd.openxmlformats-officedocument.presentationml.tags+xml"/>
  <Override PartName="/ppt/notesSlides/notesSlide19.xml" ContentType="application/vnd.openxmlformats-officedocument.presentationml.notesSlide+xml"/>
  <Override PartName="/ppt/tags/tag136.xml" ContentType="application/vnd.openxmlformats-officedocument.presentationml.tags+xml"/>
  <Override PartName="/ppt/notesSlides/notesSlide20.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1.xml" ContentType="application/vnd.openxmlformats-officedocument.presentationml.notesSlide+xml"/>
  <Override PartName="/ppt/tags/tag139.xml" ContentType="application/vnd.openxmlformats-officedocument.presentationml.tags+xml"/>
  <Override PartName="/ppt/notesSlides/notesSlide2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23.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24.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51"/>
  </p:notesMasterIdLst>
  <p:handoutMasterIdLst>
    <p:handoutMasterId r:id="rId52"/>
  </p:handoutMasterIdLst>
  <p:sldIdLst>
    <p:sldId id="256" r:id="rId14"/>
    <p:sldId id="2303" r:id="rId15"/>
    <p:sldId id="2305" r:id="rId16"/>
    <p:sldId id="2306" r:id="rId17"/>
    <p:sldId id="2161" r:id="rId18"/>
    <p:sldId id="2162" r:id="rId19"/>
    <p:sldId id="2384" r:id="rId20"/>
    <p:sldId id="2220" r:id="rId21"/>
    <p:sldId id="2213" r:id="rId22"/>
    <p:sldId id="2214" r:id="rId23"/>
    <p:sldId id="2269" r:id="rId24"/>
    <p:sldId id="2328" r:id="rId25"/>
    <p:sldId id="2330" r:id="rId26"/>
    <p:sldId id="2329" r:id="rId27"/>
    <p:sldId id="2332" r:id="rId28"/>
    <p:sldId id="2331" r:id="rId29"/>
    <p:sldId id="2169" r:id="rId30"/>
    <p:sldId id="2307" r:id="rId31"/>
    <p:sldId id="2373" r:id="rId32"/>
    <p:sldId id="2374" r:id="rId33"/>
    <p:sldId id="2376" r:id="rId34"/>
    <p:sldId id="2381" r:id="rId35"/>
    <p:sldId id="2379" r:id="rId36"/>
    <p:sldId id="2380" r:id="rId37"/>
    <p:sldId id="2382" r:id="rId38"/>
    <p:sldId id="2333" r:id="rId39"/>
    <p:sldId id="2385" r:id="rId40"/>
    <p:sldId id="2398" r:id="rId41"/>
    <p:sldId id="2399" r:id="rId42"/>
    <p:sldId id="2400" r:id="rId43"/>
    <p:sldId id="2192" r:id="rId44"/>
    <p:sldId id="2034" r:id="rId45"/>
    <p:sldId id="2147" r:id="rId46"/>
    <p:sldId id="1711" r:id="rId47"/>
    <p:sldId id="1598" r:id="rId48"/>
    <p:sldId id="2240" r:id="rId49"/>
    <p:sldId id="1600" r:id="rId50"/>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EFF"/>
    <a:srgbClr val="F3D26A"/>
    <a:srgbClr val="EBF6DE"/>
    <a:srgbClr val="D3EFCE"/>
    <a:srgbClr val="FFEAA5"/>
    <a:srgbClr val="FFE9A0"/>
    <a:srgbClr val="FFABAB"/>
    <a:srgbClr val="FF8B8B"/>
    <a:srgbClr val="FF00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49E0AC-9333-4F13-B2C9-E74906101359}" v="494" dt="2022-12-07T03:09:02.6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microsoft.com/office/2016/11/relationships/changesInfo" Target="changesInfos/changesInfo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handoutMaster" Target="handoutMasters/handoutMaster1.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484DD64F-11B8-41CE-8137-F22080D59C6C}"/>
    <pc:docChg chg="undo redo custSel addSld delSld modSld sldOrd">
      <pc:chgData name="Aurelien Domont" userId="6da7715ce44349b3" providerId="LiveId" clId="{484DD64F-11B8-41CE-8137-F22080D59C6C}" dt="2021-07-23T05:53:32.113" v="1746" actId="113"/>
      <pc:docMkLst>
        <pc:docMk/>
      </pc:docMkLst>
      <pc:sldChg chg="modSp mod">
        <pc:chgData name="Aurelien Domont" userId="6da7715ce44349b3" providerId="LiveId" clId="{484DD64F-11B8-41CE-8137-F22080D59C6C}" dt="2021-07-23T05:49:44.106" v="1745" actId="20577"/>
        <pc:sldMkLst>
          <pc:docMk/>
          <pc:sldMk cId="3131901387" sldId="256"/>
        </pc:sldMkLst>
        <pc:spChg chg="mod">
          <ac:chgData name="Aurelien Domont" userId="6da7715ce44349b3" providerId="LiveId" clId="{484DD64F-11B8-41CE-8137-F22080D59C6C}" dt="2021-07-23T05:49:44.106" v="1745" actId="20577"/>
          <ac:spMkLst>
            <pc:docMk/>
            <pc:sldMk cId="3131901387" sldId="256"/>
            <ac:spMk id="2" creationId="{5261080C-C60C-4746-B6B1-A9A4FFA86785}"/>
          </ac:spMkLst>
        </pc:spChg>
      </pc:sldChg>
      <pc:sldChg chg="ord">
        <pc:chgData name="Aurelien Domont" userId="6da7715ce44349b3" providerId="LiveId" clId="{484DD64F-11B8-41CE-8137-F22080D59C6C}" dt="2021-07-23T04:40:12.568" v="1235"/>
        <pc:sldMkLst>
          <pc:docMk/>
          <pc:sldMk cId="3072119178" sldId="1488"/>
        </pc:sldMkLst>
      </pc:sldChg>
      <pc:sldChg chg="ord">
        <pc:chgData name="Aurelien Domont" userId="6da7715ce44349b3" providerId="LiveId" clId="{484DD64F-11B8-41CE-8137-F22080D59C6C}" dt="2021-07-23T04:40:12.568" v="1235"/>
        <pc:sldMkLst>
          <pc:docMk/>
          <pc:sldMk cId="926313830" sldId="1489"/>
        </pc:sldMkLst>
      </pc:sldChg>
      <pc:sldChg chg="ord">
        <pc:chgData name="Aurelien Domont" userId="6da7715ce44349b3" providerId="LiveId" clId="{484DD64F-11B8-41CE-8137-F22080D59C6C}" dt="2021-07-23T04:40:12.568" v="1235"/>
        <pc:sldMkLst>
          <pc:docMk/>
          <pc:sldMk cId="3370215172" sldId="1490"/>
        </pc:sldMkLst>
      </pc:sldChg>
      <pc:sldChg chg="ord">
        <pc:chgData name="Aurelien Domont" userId="6da7715ce44349b3" providerId="LiveId" clId="{484DD64F-11B8-41CE-8137-F22080D59C6C}" dt="2021-07-23T04:10:20.767" v="842"/>
        <pc:sldMkLst>
          <pc:docMk/>
          <pc:sldMk cId="317099162" sldId="1749"/>
        </pc:sldMkLst>
      </pc:sldChg>
      <pc:sldChg chg="add">
        <pc:chgData name="Aurelien Domont" userId="6da7715ce44349b3" providerId="LiveId" clId="{484DD64F-11B8-41CE-8137-F22080D59C6C}" dt="2021-07-23T04:43:29.786" v="1267"/>
        <pc:sldMkLst>
          <pc:docMk/>
          <pc:sldMk cId="2603859724" sldId="1763"/>
        </pc:sldMkLst>
      </pc:sldChg>
      <pc:sldChg chg="add">
        <pc:chgData name="Aurelien Domont" userId="6da7715ce44349b3" providerId="LiveId" clId="{484DD64F-11B8-41CE-8137-F22080D59C6C}" dt="2021-07-23T04:43:29.786" v="1267"/>
        <pc:sldMkLst>
          <pc:docMk/>
          <pc:sldMk cId="99687317" sldId="1764"/>
        </pc:sldMkLst>
      </pc:sldChg>
      <pc:sldChg chg="add setBg">
        <pc:chgData name="Aurelien Domont" userId="6da7715ce44349b3" providerId="LiveId" clId="{484DD64F-11B8-41CE-8137-F22080D59C6C}" dt="2021-07-23T04:43:29.786" v="1267"/>
        <pc:sldMkLst>
          <pc:docMk/>
          <pc:sldMk cId="3975128435" sldId="1765"/>
        </pc:sldMkLst>
      </pc:sldChg>
      <pc:sldChg chg="add">
        <pc:chgData name="Aurelien Domont" userId="6da7715ce44349b3" providerId="LiveId" clId="{484DD64F-11B8-41CE-8137-F22080D59C6C}" dt="2021-07-23T04:43:29.786" v="1267"/>
        <pc:sldMkLst>
          <pc:docMk/>
          <pc:sldMk cId="3598292899" sldId="1770"/>
        </pc:sldMkLst>
      </pc:sldChg>
      <pc:sldChg chg="add">
        <pc:chgData name="Aurelien Domont" userId="6da7715ce44349b3" providerId="LiveId" clId="{484DD64F-11B8-41CE-8137-F22080D59C6C}" dt="2021-07-23T04:43:29.786" v="1267"/>
        <pc:sldMkLst>
          <pc:docMk/>
          <pc:sldMk cId="1016381984" sldId="1771"/>
        </pc:sldMkLst>
      </pc:sldChg>
      <pc:sldChg chg="add">
        <pc:chgData name="Aurelien Domont" userId="6da7715ce44349b3" providerId="LiveId" clId="{484DD64F-11B8-41CE-8137-F22080D59C6C}" dt="2021-07-23T04:43:29.786" v="1267"/>
        <pc:sldMkLst>
          <pc:docMk/>
          <pc:sldMk cId="2943938352" sldId="2154"/>
        </pc:sldMkLst>
      </pc:sldChg>
      <pc:sldChg chg="ord">
        <pc:chgData name="Aurelien Domont" userId="6da7715ce44349b3" providerId="LiveId" clId="{484DD64F-11B8-41CE-8137-F22080D59C6C}" dt="2021-07-23T04:39:37.405" v="1227"/>
        <pc:sldMkLst>
          <pc:docMk/>
          <pc:sldMk cId="1479295029" sldId="2156"/>
        </pc:sldMkLst>
      </pc:sldChg>
      <pc:sldChg chg="ord">
        <pc:chgData name="Aurelien Domont" userId="6da7715ce44349b3" providerId="LiveId" clId="{484DD64F-11B8-41CE-8137-F22080D59C6C}" dt="2021-07-23T04:10:30.120" v="844"/>
        <pc:sldMkLst>
          <pc:docMk/>
          <pc:sldMk cId="1073937120" sldId="2160"/>
        </pc:sldMkLst>
      </pc:sldChg>
      <pc:sldChg chg="addSp delSp modSp mod ord">
        <pc:chgData name="Aurelien Domont" userId="6da7715ce44349b3" providerId="LiveId" clId="{484DD64F-11B8-41CE-8137-F22080D59C6C}" dt="2021-07-23T04:20:39.301" v="974" actId="14861"/>
        <pc:sldMkLst>
          <pc:docMk/>
          <pc:sldMk cId="62308209" sldId="2161"/>
        </pc:sldMkLst>
        <pc:spChg chg="mod">
          <ac:chgData name="Aurelien Domont" userId="6da7715ce44349b3" providerId="LiveId" clId="{484DD64F-11B8-41CE-8137-F22080D59C6C}" dt="2021-07-23T04:11:46.929" v="847"/>
          <ac:spMkLst>
            <pc:docMk/>
            <pc:sldMk cId="62308209" sldId="2161"/>
            <ac:spMk id="16" creationId="{6C2BB713-9637-4B9B-938F-E9768876782A}"/>
          </ac:spMkLst>
        </pc:spChg>
        <pc:spChg chg="mod">
          <ac:chgData name="Aurelien Domont" userId="6da7715ce44349b3" providerId="LiveId" clId="{484DD64F-11B8-41CE-8137-F22080D59C6C}" dt="2021-07-23T04:12:35.548" v="862" actId="122"/>
          <ac:spMkLst>
            <pc:docMk/>
            <pc:sldMk cId="62308209" sldId="2161"/>
            <ac:spMk id="31" creationId="{80DB5C2A-CB4E-438A-8801-EB0869040D7B}"/>
          </ac:spMkLst>
        </pc:spChg>
        <pc:spChg chg="add mod topLvl">
          <ac:chgData name="Aurelien Domont" userId="6da7715ce44349b3" providerId="LiveId" clId="{484DD64F-11B8-41CE-8137-F22080D59C6C}" dt="2021-07-23T04:18:29.317" v="927" actId="1035"/>
          <ac:spMkLst>
            <pc:docMk/>
            <pc:sldMk cId="62308209" sldId="2161"/>
            <ac:spMk id="34" creationId="{E1B2FFE3-DBA5-416B-9DB3-3731D3B7B0A4}"/>
          </ac:spMkLst>
        </pc:spChg>
        <pc:spChg chg="add mod topLvl">
          <ac:chgData name="Aurelien Domont" userId="6da7715ce44349b3" providerId="LiveId" clId="{484DD64F-11B8-41CE-8137-F22080D59C6C}" dt="2021-07-23T04:18:33.823" v="935" actId="1037"/>
          <ac:spMkLst>
            <pc:docMk/>
            <pc:sldMk cId="62308209" sldId="2161"/>
            <ac:spMk id="35" creationId="{4D42CE75-EBD5-4944-A919-A414AA408861}"/>
          </ac:spMkLst>
        </pc:spChg>
        <pc:spChg chg="add mod topLvl">
          <ac:chgData name="Aurelien Domont" userId="6da7715ce44349b3" providerId="LiveId" clId="{484DD64F-11B8-41CE-8137-F22080D59C6C}" dt="2021-07-23T04:18:37.383" v="940" actId="1035"/>
          <ac:spMkLst>
            <pc:docMk/>
            <pc:sldMk cId="62308209" sldId="2161"/>
            <ac:spMk id="36" creationId="{374D2436-4DE9-43A4-9BB8-B23AA8701B3A}"/>
          </ac:spMkLst>
        </pc:spChg>
        <pc:spChg chg="add mod topLvl">
          <ac:chgData name="Aurelien Domont" userId="6da7715ce44349b3" providerId="LiveId" clId="{484DD64F-11B8-41CE-8137-F22080D59C6C}" dt="2021-07-23T04:18:03.450" v="898" actId="165"/>
          <ac:spMkLst>
            <pc:docMk/>
            <pc:sldMk cId="62308209" sldId="2161"/>
            <ac:spMk id="37" creationId="{3C2FA24C-C27B-41CE-B094-2513F027D3A8}"/>
          </ac:spMkLst>
        </pc:spChg>
        <pc:spChg chg="add mod topLvl">
          <ac:chgData name="Aurelien Domont" userId="6da7715ce44349b3" providerId="LiveId" clId="{484DD64F-11B8-41CE-8137-F22080D59C6C}" dt="2021-07-23T04:18:50.205" v="956" actId="1035"/>
          <ac:spMkLst>
            <pc:docMk/>
            <pc:sldMk cId="62308209" sldId="2161"/>
            <ac:spMk id="38" creationId="{B6F8B35C-55F2-4C82-90F4-14AA1AB67BFC}"/>
          </ac:spMkLst>
        </pc:spChg>
        <pc:spChg chg="add mod topLvl">
          <ac:chgData name="Aurelien Domont" userId="6da7715ce44349b3" providerId="LiveId" clId="{484DD64F-11B8-41CE-8137-F22080D59C6C}" dt="2021-07-23T04:18:43.612" v="954" actId="1035"/>
          <ac:spMkLst>
            <pc:docMk/>
            <pc:sldMk cId="62308209" sldId="2161"/>
            <ac:spMk id="39" creationId="{519C9AE0-754E-4933-AD30-219E481A0051}"/>
          </ac:spMkLst>
        </pc:spChg>
        <pc:spChg chg="add mod topLvl">
          <ac:chgData name="Aurelien Domont" userId="6da7715ce44349b3" providerId="LiveId" clId="{484DD64F-11B8-41CE-8137-F22080D59C6C}" dt="2021-07-23T04:18:25.151" v="924" actId="1038"/>
          <ac:spMkLst>
            <pc:docMk/>
            <pc:sldMk cId="62308209" sldId="2161"/>
            <ac:spMk id="40" creationId="{89F4B0CF-9378-4A72-B65B-CA382567820F}"/>
          </ac:spMkLst>
        </pc:spChg>
        <pc:spChg chg="add mod topLvl">
          <ac:chgData name="Aurelien Domont" userId="6da7715ce44349b3" providerId="LiveId" clId="{484DD64F-11B8-41CE-8137-F22080D59C6C}" dt="2021-07-23T04:18:03.450" v="898" actId="165"/>
          <ac:spMkLst>
            <pc:docMk/>
            <pc:sldMk cId="62308209" sldId="2161"/>
            <ac:spMk id="48" creationId="{19B26507-7537-48B2-A522-7220639B33CC}"/>
          </ac:spMkLst>
        </pc:spChg>
        <pc:spChg chg="add mod topLvl">
          <ac:chgData name="Aurelien Domont" userId="6da7715ce44349b3" providerId="LiveId" clId="{484DD64F-11B8-41CE-8137-F22080D59C6C}" dt="2021-07-23T04:20:39.301" v="974" actId="14861"/>
          <ac:spMkLst>
            <pc:docMk/>
            <pc:sldMk cId="62308209" sldId="2161"/>
            <ac:spMk id="49" creationId="{48639D28-B55E-4ADC-ACFB-B92978A605C1}"/>
          </ac:spMkLst>
        </pc:spChg>
        <pc:spChg chg="add mod topLvl">
          <ac:chgData name="Aurelien Domont" userId="6da7715ce44349b3" providerId="LiveId" clId="{484DD64F-11B8-41CE-8137-F22080D59C6C}" dt="2021-07-23T04:18:03.450" v="898" actId="165"/>
          <ac:spMkLst>
            <pc:docMk/>
            <pc:sldMk cId="62308209" sldId="2161"/>
            <ac:spMk id="50" creationId="{EAC42D61-C273-4449-982C-A24D5A5FBED7}"/>
          </ac:spMkLst>
        </pc:spChg>
        <pc:spChg chg="add mod topLvl">
          <ac:chgData name="Aurelien Domont" userId="6da7715ce44349b3" providerId="LiveId" clId="{484DD64F-11B8-41CE-8137-F22080D59C6C}" dt="2021-07-23T04:18:03.450" v="898" actId="165"/>
          <ac:spMkLst>
            <pc:docMk/>
            <pc:sldMk cId="62308209" sldId="2161"/>
            <ac:spMk id="51" creationId="{3A45E5FA-0069-45C4-B7A6-2A52D8054710}"/>
          </ac:spMkLst>
        </pc:spChg>
        <pc:spChg chg="mod">
          <ac:chgData name="Aurelien Domont" userId="6da7715ce44349b3" providerId="LiveId" clId="{484DD64F-11B8-41CE-8137-F22080D59C6C}" dt="2021-07-23T04:12:58.308" v="863" actId="20577"/>
          <ac:spMkLst>
            <pc:docMk/>
            <pc:sldMk cId="62308209" sldId="2161"/>
            <ac:spMk id="54" creationId="{E7D1A9F7-F376-48B5-ACD6-0ECF9A5D6033}"/>
          </ac:spMkLst>
        </pc:spChg>
        <pc:spChg chg="add mod topLvl">
          <ac:chgData name="Aurelien Domont" userId="6da7715ce44349b3" providerId="LiveId" clId="{484DD64F-11B8-41CE-8137-F22080D59C6C}" dt="2021-07-23T04:18:03.450" v="898" actId="165"/>
          <ac:spMkLst>
            <pc:docMk/>
            <pc:sldMk cId="62308209" sldId="2161"/>
            <ac:spMk id="73" creationId="{C668EDCD-6B28-442F-B7C3-2B0D4897B6F9}"/>
          </ac:spMkLst>
        </pc:spChg>
        <pc:spChg chg="add mod topLvl">
          <ac:chgData name="Aurelien Domont" userId="6da7715ce44349b3" providerId="LiveId" clId="{484DD64F-11B8-41CE-8137-F22080D59C6C}" dt="2021-07-23T04:18:03.450" v="898" actId="165"/>
          <ac:spMkLst>
            <pc:docMk/>
            <pc:sldMk cId="62308209" sldId="2161"/>
            <ac:spMk id="74" creationId="{03F6514F-3D02-4564-ADC8-DC0817BCC948}"/>
          </ac:spMkLst>
        </pc:spChg>
        <pc:spChg chg="add mod topLvl">
          <ac:chgData name="Aurelien Domont" userId="6da7715ce44349b3" providerId="LiveId" clId="{484DD64F-11B8-41CE-8137-F22080D59C6C}" dt="2021-07-23T04:18:03.450" v="898" actId="165"/>
          <ac:spMkLst>
            <pc:docMk/>
            <pc:sldMk cId="62308209" sldId="2161"/>
            <ac:spMk id="75" creationId="{6C561391-988C-4874-A798-F591CEF046D9}"/>
          </ac:spMkLst>
        </pc:spChg>
        <pc:spChg chg="add mod topLvl">
          <ac:chgData name="Aurelien Domont" userId="6da7715ce44349b3" providerId="LiveId" clId="{484DD64F-11B8-41CE-8137-F22080D59C6C}" dt="2021-07-23T04:18:03.450" v="898" actId="165"/>
          <ac:spMkLst>
            <pc:docMk/>
            <pc:sldMk cId="62308209" sldId="2161"/>
            <ac:spMk id="76" creationId="{B4DAE029-E3D6-430E-8906-A24ABCE60AF7}"/>
          </ac:spMkLst>
        </pc:spChg>
        <pc:spChg chg="add mod topLvl">
          <ac:chgData name="Aurelien Domont" userId="6da7715ce44349b3" providerId="LiveId" clId="{484DD64F-11B8-41CE-8137-F22080D59C6C}" dt="2021-07-23T04:18:03.450" v="898" actId="165"/>
          <ac:spMkLst>
            <pc:docMk/>
            <pc:sldMk cId="62308209" sldId="2161"/>
            <ac:spMk id="77" creationId="{7BA855D7-CC73-483D-8655-83DEC862FF66}"/>
          </ac:spMkLst>
        </pc:spChg>
        <pc:spChg chg="add mod topLvl">
          <ac:chgData name="Aurelien Domont" userId="6da7715ce44349b3" providerId="LiveId" clId="{484DD64F-11B8-41CE-8137-F22080D59C6C}" dt="2021-07-23T04:20:18.544" v="973" actId="1037"/>
          <ac:spMkLst>
            <pc:docMk/>
            <pc:sldMk cId="62308209" sldId="2161"/>
            <ac:spMk id="78" creationId="{FA1091B8-4DD8-4C8D-8CBD-A2E2CEE60B1F}"/>
          </ac:spMkLst>
        </pc:spChg>
        <pc:spChg chg="mod">
          <ac:chgData name="Aurelien Domont" userId="6da7715ce44349b3" providerId="LiveId" clId="{484DD64F-11B8-41CE-8137-F22080D59C6C}" dt="2021-07-23T04:18:03.450" v="898" actId="165"/>
          <ac:spMkLst>
            <pc:docMk/>
            <pc:sldMk cId="62308209" sldId="2161"/>
            <ac:spMk id="87" creationId="{07B5BB67-6AA6-4F80-BA26-0E6A66E033DD}"/>
          </ac:spMkLst>
        </pc:spChg>
        <pc:spChg chg="mod">
          <ac:chgData name="Aurelien Domont" userId="6da7715ce44349b3" providerId="LiveId" clId="{484DD64F-11B8-41CE-8137-F22080D59C6C}" dt="2021-07-23T04:18:03.450" v="898" actId="165"/>
          <ac:spMkLst>
            <pc:docMk/>
            <pc:sldMk cId="62308209" sldId="2161"/>
            <ac:spMk id="88" creationId="{3FB55220-15FB-4FEB-A5EE-4A39ABD3A5B7}"/>
          </ac:spMkLst>
        </pc:spChg>
        <pc:spChg chg="mod">
          <ac:chgData name="Aurelien Domont" userId="6da7715ce44349b3" providerId="LiveId" clId="{484DD64F-11B8-41CE-8137-F22080D59C6C}" dt="2021-07-23T04:18:03.450" v="898" actId="165"/>
          <ac:spMkLst>
            <pc:docMk/>
            <pc:sldMk cId="62308209" sldId="2161"/>
            <ac:spMk id="89" creationId="{1B38D6B2-8F48-48AF-A353-BFC5A0DD84F6}"/>
          </ac:spMkLst>
        </pc:spChg>
        <pc:spChg chg="mod">
          <ac:chgData name="Aurelien Domont" userId="6da7715ce44349b3" providerId="LiveId" clId="{484DD64F-11B8-41CE-8137-F22080D59C6C}" dt="2021-07-23T04:18:03.450" v="898" actId="165"/>
          <ac:spMkLst>
            <pc:docMk/>
            <pc:sldMk cId="62308209" sldId="2161"/>
            <ac:spMk id="90" creationId="{BDE07091-593F-4249-82C4-EEA83A8EE56D}"/>
          </ac:spMkLst>
        </pc:spChg>
        <pc:grpChg chg="del mod">
          <ac:chgData name="Aurelien Domont" userId="6da7715ce44349b3" providerId="LiveId" clId="{484DD64F-11B8-41CE-8137-F22080D59C6C}" dt="2021-07-23T04:15:32.978" v="864" actId="478"/>
          <ac:grpSpMkLst>
            <pc:docMk/>
            <pc:sldMk cId="62308209" sldId="2161"/>
            <ac:grpSpMk id="2" creationId="{FFCD903C-2A8B-42A0-9428-7FD75FD8204A}"/>
          </ac:grpSpMkLst>
        </pc:grpChg>
        <pc:grpChg chg="add del mod">
          <ac:chgData name="Aurelien Domont" userId="6da7715ce44349b3" providerId="LiveId" clId="{484DD64F-11B8-41CE-8137-F22080D59C6C}" dt="2021-07-23T04:18:03.450" v="898" actId="165"/>
          <ac:grpSpMkLst>
            <pc:docMk/>
            <pc:sldMk cId="62308209" sldId="2161"/>
            <ac:grpSpMk id="3" creationId="{816A6DEB-B19A-495C-B3E8-BB3C0CC00300}"/>
          </ac:grpSpMkLst>
        </pc:grpChg>
        <pc:grpChg chg="add mod topLvl">
          <ac:chgData name="Aurelien Domont" userId="6da7715ce44349b3" providerId="LiveId" clId="{484DD64F-11B8-41CE-8137-F22080D59C6C}" dt="2021-07-23T04:18:09.499" v="908" actId="1037"/>
          <ac:grpSpMkLst>
            <pc:docMk/>
            <pc:sldMk cId="62308209" sldId="2161"/>
            <ac:grpSpMk id="85" creationId="{29E32D0B-A58E-4E75-B2E7-01A6CE79C7F0}"/>
          </ac:grpSpMkLst>
        </pc:grpChg>
        <pc:grpChg chg="mod">
          <ac:chgData name="Aurelien Domont" userId="6da7715ce44349b3" providerId="LiveId" clId="{484DD64F-11B8-41CE-8137-F22080D59C6C}" dt="2021-07-23T04:18:03.450" v="898" actId="165"/>
          <ac:grpSpMkLst>
            <pc:docMk/>
            <pc:sldMk cId="62308209" sldId="2161"/>
            <ac:grpSpMk id="86" creationId="{8BAAE573-F79A-47C9-8C2F-687422633C8E}"/>
          </ac:grpSpMkLst>
        </pc:grpChg>
        <pc:picChg chg="add mod topLvl">
          <ac:chgData name="Aurelien Domont" userId="6da7715ce44349b3" providerId="LiveId" clId="{484DD64F-11B8-41CE-8137-F22080D59C6C}" dt="2021-07-23T04:18:03.450" v="898" actId="165"/>
          <ac:picMkLst>
            <pc:docMk/>
            <pc:sldMk cId="62308209" sldId="2161"/>
            <ac:picMk id="79" creationId="{8323D500-379C-42EB-829B-5CBA0C9BD11A}"/>
          </ac:picMkLst>
        </pc:picChg>
        <pc:picChg chg="add mod topLvl">
          <ac:chgData name="Aurelien Domont" userId="6da7715ce44349b3" providerId="LiveId" clId="{484DD64F-11B8-41CE-8137-F22080D59C6C}" dt="2021-07-23T04:18:03.450" v="898" actId="165"/>
          <ac:picMkLst>
            <pc:docMk/>
            <pc:sldMk cId="62308209" sldId="2161"/>
            <ac:picMk id="80" creationId="{15E36AB3-1C2B-4419-BA3B-C76E995F1C2E}"/>
          </ac:picMkLst>
        </pc:picChg>
        <pc:picChg chg="add mod topLvl">
          <ac:chgData name="Aurelien Domont" userId="6da7715ce44349b3" providerId="LiveId" clId="{484DD64F-11B8-41CE-8137-F22080D59C6C}" dt="2021-07-23T04:18:03.450" v="898" actId="165"/>
          <ac:picMkLst>
            <pc:docMk/>
            <pc:sldMk cId="62308209" sldId="2161"/>
            <ac:picMk id="81" creationId="{D6EFFCE4-6246-4DF3-ADA4-8908107C4126}"/>
          </ac:picMkLst>
        </pc:picChg>
        <pc:picChg chg="add mod topLvl">
          <ac:chgData name="Aurelien Domont" userId="6da7715ce44349b3" providerId="LiveId" clId="{484DD64F-11B8-41CE-8137-F22080D59C6C}" dt="2021-07-23T04:18:03.450" v="898" actId="165"/>
          <ac:picMkLst>
            <pc:docMk/>
            <pc:sldMk cId="62308209" sldId="2161"/>
            <ac:picMk id="82" creationId="{CF628464-EBFE-42E9-962A-D71144AD423F}"/>
          </ac:picMkLst>
        </pc:picChg>
        <pc:picChg chg="add mod topLvl">
          <ac:chgData name="Aurelien Domont" userId="6da7715ce44349b3" providerId="LiveId" clId="{484DD64F-11B8-41CE-8137-F22080D59C6C}" dt="2021-07-23T04:18:03.450" v="898" actId="165"/>
          <ac:picMkLst>
            <pc:docMk/>
            <pc:sldMk cId="62308209" sldId="2161"/>
            <ac:picMk id="83" creationId="{BA885BFE-89BB-4CC9-9B7E-B34C40B6D5D7}"/>
          </ac:picMkLst>
        </pc:picChg>
        <pc:picChg chg="add mod topLvl">
          <ac:chgData name="Aurelien Domont" userId="6da7715ce44349b3" providerId="LiveId" clId="{484DD64F-11B8-41CE-8137-F22080D59C6C}" dt="2021-07-23T04:18:03.450" v="898" actId="165"/>
          <ac:picMkLst>
            <pc:docMk/>
            <pc:sldMk cId="62308209" sldId="2161"/>
            <ac:picMk id="84" creationId="{0BE82368-4F77-4BDE-ACE8-51420ECE202E}"/>
          </ac:picMkLst>
        </pc:picChg>
        <pc:cxnChg chg="add mod topLvl">
          <ac:chgData name="Aurelien Domont" userId="6da7715ce44349b3" providerId="LiveId" clId="{484DD64F-11B8-41CE-8137-F22080D59C6C}" dt="2021-07-23T04:18:03.450" v="898" actId="165"/>
          <ac:cxnSpMkLst>
            <pc:docMk/>
            <pc:sldMk cId="62308209" sldId="2161"/>
            <ac:cxnSpMk id="41" creationId="{8C5AD82E-AB23-4089-AA37-932F239A2C62}"/>
          </ac:cxnSpMkLst>
        </pc:cxnChg>
        <pc:cxnChg chg="add mod topLvl">
          <ac:chgData name="Aurelien Domont" userId="6da7715ce44349b3" providerId="LiveId" clId="{484DD64F-11B8-41CE-8137-F22080D59C6C}" dt="2021-07-23T04:19:02.944" v="958" actId="1076"/>
          <ac:cxnSpMkLst>
            <pc:docMk/>
            <pc:sldMk cId="62308209" sldId="2161"/>
            <ac:cxnSpMk id="42" creationId="{9453C508-ECBC-4AF0-B3F0-207099046C59}"/>
          </ac:cxnSpMkLst>
        </pc:cxnChg>
        <pc:cxnChg chg="add mod topLvl">
          <ac:chgData name="Aurelien Domont" userId="6da7715ce44349b3" providerId="LiveId" clId="{484DD64F-11B8-41CE-8137-F22080D59C6C}" dt="2021-07-23T04:18:03.450" v="898" actId="165"/>
          <ac:cxnSpMkLst>
            <pc:docMk/>
            <pc:sldMk cId="62308209" sldId="2161"/>
            <ac:cxnSpMk id="43" creationId="{ECB40045-54EE-48A2-9963-3DAA40D26B70}"/>
          </ac:cxnSpMkLst>
        </pc:cxnChg>
        <pc:cxnChg chg="add mod topLvl">
          <ac:chgData name="Aurelien Domont" userId="6da7715ce44349b3" providerId="LiveId" clId="{484DD64F-11B8-41CE-8137-F22080D59C6C}" dt="2021-07-23T04:18:03.450" v="898" actId="165"/>
          <ac:cxnSpMkLst>
            <pc:docMk/>
            <pc:sldMk cId="62308209" sldId="2161"/>
            <ac:cxnSpMk id="44" creationId="{328F4FA4-D5AC-41D7-A610-C71E56353ABA}"/>
          </ac:cxnSpMkLst>
        </pc:cxnChg>
        <pc:cxnChg chg="add mod topLvl">
          <ac:chgData name="Aurelien Domont" userId="6da7715ce44349b3" providerId="LiveId" clId="{484DD64F-11B8-41CE-8137-F22080D59C6C}" dt="2021-07-23T04:18:03.450" v="898" actId="165"/>
          <ac:cxnSpMkLst>
            <pc:docMk/>
            <pc:sldMk cId="62308209" sldId="2161"/>
            <ac:cxnSpMk id="45" creationId="{5A00F544-B637-4AE0-9456-DEADC19170B4}"/>
          </ac:cxnSpMkLst>
        </pc:cxnChg>
        <pc:cxnChg chg="add mod topLvl">
          <ac:chgData name="Aurelien Domont" userId="6da7715ce44349b3" providerId="LiveId" clId="{484DD64F-11B8-41CE-8137-F22080D59C6C}" dt="2021-07-23T04:18:03.450" v="898" actId="165"/>
          <ac:cxnSpMkLst>
            <pc:docMk/>
            <pc:sldMk cId="62308209" sldId="2161"/>
            <ac:cxnSpMk id="46" creationId="{89563420-A8F1-4B09-BC0F-B0F2CBFDEA49}"/>
          </ac:cxnSpMkLst>
        </pc:cxnChg>
        <pc:cxnChg chg="add mod topLvl">
          <ac:chgData name="Aurelien Domont" userId="6da7715ce44349b3" providerId="LiveId" clId="{484DD64F-11B8-41CE-8137-F22080D59C6C}" dt="2021-07-23T04:18:03.450" v="898" actId="165"/>
          <ac:cxnSpMkLst>
            <pc:docMk/>
            <pc:sldMk cId="62308209" sldId="2161"/>
            <ac:cxnSpMk id="47" creationId="{15F6E258-DA49-4678-AA7D-F999C6AE98B0}"/>
          </ac:cxnSpMkLst>
        </pc:cxnChg>
      </pc:sldChg>
      <pc:sldChg chg="addSp delSp modSp mod ord">
        <pc:chgData name="Aurelien Domont" userId="6da7715ce44349b3" providerId="LiveId" clId="{484DD64F-11B8-41CE-8137-F22080D59C6C}" dt="2021-07-23T05:48:05.625" v="1743" actId="20577"/>
        <pc:sldMkLst>
          <pc:docMk/>
          <pc:sldMk cId="3272444503" sldId="2162"/>
        </pc:sldMkLst>
        <pc:spChg chg="add mod">
          <ac:chgData name="Aurelien Domont" userId="6da7715ce44349b3" providerId="LiveId" clId="{484DD64F-11B8-41CE-8137-F22080D59C6C}" dt="2021-07-23T05:48:05.625" v="1743" actId="20577"/>
          <ac:spMkLst>
            <pc:docMk/>
            <pc:sldMk cId="3272444503" sldId="2162"/>
            <ac:spMk id="6" creationId="{22D27BA3-CC85-4DD2-AEDB-C22AC367D60A}"/>
          </ac:spMkLst>
        </pc:spChg>
        <pc:spChg chg="mod">
          <ac:chgData name="Aurelien Domont" userId="6da7715ce44349b3" providerId="LiveId" clId="{484DD64F-11B8-41CE-8137-F22080D59C6C}" dt="2021-07-23T04:21:26.513" v="977"/>
          <ac:spMkLst>
            <pc:docMk/>
            <pc:sldMk cId="3272444503" sldId="2162"/>
            <ac:spMk id="16" creationId="{6C2BB713-9637-4B9B-938F-E9768876782A}"/>
          </ac:spMkLst>
        </pc:spChg>
        <pc:spChg chg="del">
          <ac:chgData name="Aurelien Domont" userId="6da7715ce44349b3" providerId="LiveId" clId="{484DD64F-11B8-41CE-8137-F22080D59C6C}" dt="2021-07-23T04:22:18.709" v="978" actId="478"/>
          <ac:spMkLst>
            <pc:docMk/>
            <pc:sldMk cId="3272444503" sldId="2162"/>
            <ac:spMk id="34" creationId="{2B936149-E2A6-4141-A333-C5E1855245B1}"/>
          </ac:spMkLst>
        </pc:spChg>
      </pc:sldChg>
      <pc:sldChg chg="del">
        <pc:chgData name="Aurelien Domont" userId="6da7715ce44349b3" providerId="LiveId" clId="{484DD64F-11B8-41CE-8137-F22080D59C6C}" dt="2021-07-23T04:27:14.924" v="1007" actId="47"/>
        <pc:sldMkLst>
          <pc:docMk/>
          <pc:sldMk cId="3193088531" sldId="2164"/>
        </pc:sldMkLst>
      </pc:sldChg>
      <pc:sldChg chg="del">
        <pc:chgData name="Aurelien Domont" userId="6da7715ce44349b3" providerId="LiveId" clId="{484DD64F-11B8-41CE-8137-F22080D59C6C}" dt="2021-07-23T04:39:28.827" v="1225" actId="47"/>
        <pc:sldMkLst>
          <pc:docMk/>
          <pc:sldMk cId="2369505737" sldId="2167"/>
        </pc:sldMkLst>
      </pc:sldChg>
      <pc:sldChg chg="ord">
        <pc:chgData name="Aurelien Domont" userId="6da7715ce44349b3" providerId="LiveId" clId="{484DD64F-11B8-41CE-8137-F22080D59C6C}" dt="2021-07-23T04:39:37.405" v="1227"/>
        <pc:sldMkLst>
          <pc:docMk/>
          <pc:sldMk cId="4178836903" sldId="2169"/>
        </pc:sldMkLst>
      </pc:sldChg>
      <pc:sldChg chg="ord">
        <pc:chgData name="Aurelien Domont" userId="6da7715ce44349b3" providerId="LiveId" clId="{484DD64F-11B8-41CE-8137-F22080D59C6C}" dt="2021-07-23T04:39:37.405" v="1227"/>
        <pc:sldMkLst>
          <pc:docMk/>
          <pc:sldMk cId="2678382071" sldId="2170"/>
        </pc:sldMkLst>
      </pc:sldChg>
      <pc:sldChg chg="ord">
        <pc:chgData name="Aurelien Domont" userId="6da7715ce44349b3" providerId="LiveId" clId="{484DD64F-11B8-41CE-8137-F22080D59C6C}" dt="2021-07-23T04:39:37.405" v="1227"/>
        <pc:sldMkLst>
          <pc:docMk/>
          <pc:sldMk cId="4258618140" sldId="2187"/>
        </pc:sldMkLst>
      </pc:sldChg>
      <pc:sldChg chg="del">
        <pc:chgData name="Aurelien Domont" userId="6da7715ce44349b3" providerId="LiveId" clId="{484DD64F-11B8-41CE-8137-F22080D59C6C}" dt="2021-07-23T04:40:07.079" v="1233" actId="47"/>
        <pc:sldMkLst>
          <pc:docMk/>
          <pc:sldMk cId="1390113814" sldId="2188"/>
        </pc:sldMkLst>
      </pc:sldChg>
      <pc:sldChg chg="del">
        <pc:chgData name="Aurelien Domont" userId="6da7715ce44349b3" providerId="LiveId" clId="{484DD64F-11B8-41CE-8137-F22080D59C6C}" dt="2021-07-23T04:40:33.561" v="1241" actId="47"/>
        <pc:sldMkLst>
          <pc:docMk/>
          <pc:sldMk cId="1002747840" sldId="2189"/>
        </pc:sldMkLst>
      </pc:sldChg>
      <pc:sldChg chg="ord">
        <pc:chgData name="Aurelien Domont" userId="6da7715ce44349b3" providerId="LiveId" clId="{484DD64F-11B8-41CE-8137-F22080D59C6C}" dt="2021-07-23T04:40:12.568" v="1235"/>
        <pc:sldMkLst>
          <pc:docMk/>
          <pc:sldMk cId="2349979947" sldId="2190"/>
        </pc:sldMkLst>
      </pc:sldChg>
      <pc:sldChg chg="addSp delSp modSp mod">
        <pc:chgData name="Aurelien Domont" userId="6da7715ce44349b3" providerId="LiveId" clId="{484DD64F-11B8-41CE-8137-F22080D59C6C}" dt="2021-07-23T04:58:42.066" v="1727" actId="1038"/>
        <pc:sldMkLst>
          <pc:docMk/>
          <pc:sldMk cId="1209091634" sldId="2192"/>
        </pc:sldMkLst>
        <pc:spChg chg="add del">
          <ac:chgData name="Aurelien Domont" userId="6da7715ce44349b3" providerId="LiveId" clId="{484DD64F-11B8-41CE-8137-F22080D59C6C}" dt="2021-07-23T04:56:08.693" v="1583" actId="478"/>
          <ac:spMkLst>
            <pc:docMk/>
            <pc:sldMk cId="1209091634" sldId="2192"/>
            <ac:spMk id="2" creationId="{3285C159-3EE7-42C0-BA8B-7E8AA2FB6AB5}"/>
          </ac:spMkLst>
        </pc:spChg>
        <pc:spChg chg="mod">
          <ac:chgData name="Aurelien Domont" userId="6da7715ce44349b3" providerId="LiveId" clId="{484DD64F-11B8-41CE-8137-F22080D59C6C}" dt="2021-07-23T04:58:22.078" v="1713" actId="20577"/>
          <ac:spMkLst>
            <pc:docMk/>
            <pc:sldMk cId="1209091634" sldId="2192"/>
            <ac:spMk id="16" creationId="{6C2BB713-9637-4B9B-938F-E9768876782A}"/>
          </ac:spMkLst>
        </pc:spChg>
        <pc:spChg chg="add mod">
          <ac:chgData name="Aurelien Domont" userId="6da7715ce44349b3" providerId="LiveId" clId="{484DD64F-11B8-41CE-8137-F22080D59C6C}" dt="2021-07-23T04:56:39.975" v="1629" actId="1038"/>
          <ac:spMkLst>
            <pc:docMk/>
            <pc:sldMk cId="1209091634" sldId="2192"/>
            <ac:spMk id="30" creationId="{923C41CF-5B83-4495-A8B0-44FF4D6FA348}"/>
          </ac:spMkLst>
        </pc:spChg>
        <pc:spChg chg="mod">
          <ac:chgData name="Aurelien Domont" userId="6da7715ce44349b3" providerId="LiveId" clId="{484DD64F-11B8-41CE-8137-F22080D59C6C}" dt="2021-07-23T04:58:42.066" v="1727" actId="1038"/>
          <ac:spMkLst>
            <pc:docMk/>
            <pc:sldMk cId="1209091634" sldId="2192"/>
            <ac:spMk id="34" creationId="{7E571953-6197-4747-BD0F-640FF96CDD1D}"/>
          </ac:spMkLst>
        </pc:spChg>
        <pc:spChg chg="mod">
          <ac:chgData name="Aurelien Domont" userId="6da7715ce44349b3" providerId="LiveId" clId="{484DD64F-11B8-41CE-8137-F22080D59C6C}" dt="2021-07-23T04:57:06.972" v="1666" actId="1038"/>
          <ac:spMkLst>
            <pc:docMk/>
            <pc:sldMk cId="1209091634" sldId="2192"/>
            <ac:spMk id="35" creationId="{4A99C3F6-A408-4486-A9F9-59002C595D07}"/>
          </ac:spMkLst>
        </pc:spChg>
        <pc:spChg chg="mod">
          <ac:chgData name="Aurelien Domont" userId="6da7715ce44349b3" providerId="LiveId" clId="{484DD64F-11B8-41CE-8137-F22080D59C6C}" dt="2021-07-23T04:57:13.770" v="1686" actId="1038"/>
          <ac:spMkLst>
            <pc:docMk/>
            <pc:sldMk cId="1209091634" sldId="2192"/>
            <ac:spMk id="36" creationId="{5D53319E-0468-4B4B-98E5-3E07127703C8}"/>
          </ac:spMkLst>
        </pc:spChg>
        <pc:spChg chg="add mod">
          <ac:chgData name="Aurelien Domont" userId="6da7715ce44349b3" providerId="LiveId" clId="{484DD64F-11B8-41CE-8137-F22080D59C6C}" dt="2021-07-23T04:56:39.975" v="1629" actId="1038"/>
          <ac:spMkLst>
            <pc:docMk/>
            <pc:sldMk cId="1209091634" sldId="2192"/>
            <ac:spMk id="37" creationId="{3C81E9F3-DC0D-4D6D-A856-00CCD9A8A24C}"/>
          </ac:spMkLst>
        </pc:spChg>
        <pc:spChg chg="mod">
          <ac:chgData name="Aurelien Domont" userId="6da7715ce44349b3" providerId="LiveId" clId="{484DD64F-11B8-41CE-8137-F22080D59C6C}" dt="2021-07-23T04:57:35.395" v="1711" actId="1038"/>
          <ac:spMkLst>
            <pc:docMk/>
            <pc:sldMk cId="1209091634" sldId="2192"/>
            <ac:spMk id="38" creationId="{B6B72380-C6BC-4134-9D0C-56D5EA500C68}"/>
          </ac:spMkLst>
        </pc:spChg>
        <pc:spChg chg="mod">
          <ac:chgData name="Aurelien Domont" userId="6da7715ce44349b3" providerId="LiveId" clId="{484DD64F-11B8-41CE-8137-F22080D59C6C}" dt="2021-07-23T04:58:42.066" v="1727" actId="1038"/>
          <ac:spMkLst>
            <pc:docMk/>
            <pc:sldMk cId="1209091634" sldId="2192"/>
            <ac:spMk id="39" creationId="{2D9D59B7-B461-45F8-BF85-083779934B0A}"/>
          </ac:spMkLst>
        </pc:spChg>
        <pc:spChg chg="mod">
          <ac:chgData name="Aurelien Domont" userId="6da7715ce44349b3" providerId="LiveId" clId="{484DD64F-11B8-41CE-8137-F22080D59C6C}" dt="2021-07-23T04:57:06.972" v="1666" actId="1038"/>
          <ac:spMkLst>
            <pc:docMk/>
            <pc:sldMk cId="1209091634" sldId="2192"/>
            <ac:spMk id="40" creationId="{FEDB459F-A4B8-4765-B92A-8FA0C8E5F993}"/>
          </ac:spMkLst>
        </pc:spChg>
        <pc:spChg chg="mod">
          <ac:chgData name="Aurelien Domont" userId="6da7715ce44349b3" providerId="LiveId" clId="{484DD64F-11B8-41CE-8137-F22080D59C6C}" dt="2021-07-23T04:57:13.770" v="1686" actId="1038"/>
          <ac:spMkLst>
            <pc:docMk/>
            <pc:sldMk cId="1209091634" sldId="2192"/>
            <ac:spMk id="41" creationId="{728AF1DC-F738-487E-B414-3D2103CF27C5}"/>
          </ac:spMkLst>
        </pc:spChg>
        <pc:spChg chg="mod">
          <ac:chgData name="Aurelien Domont" userId="6da7715ce44349b3" providerId="LiveId" clId="{484DD64F-11B8-41CE-8137-F22080D59C6C}" dt="2021-07-23T04:57:35.395" v="1711" actId="1038"/>
          <ac:spMkLst>
            <pc:docMk/>
            <pc:sldMk cId="1209091634" sldId="2192"/>
            <ac:spMk id="42" creationId="{144BC78D-497F-4A02-8EDB-65B763F21D95}"/>
          </ac:spMkLst>
        </pc:spChg>
        <pc:spChg chg="mod">
          <ac:chgData name="Aurelien Domont" userId="6da7715ce44349b3" providerId="LiveId" clId="{484DD64F-11B8-41CE-8137-F22080D59C6C}" dt="2021-07-23T04:47:13.899" v="1284" actId="20577"/>
          <ac:spMkLst>
            <pc:docMk/>
            <pc:sldMk cId="1209091634" sldId="2192"/>
            <ac:spMk id="45" creationId="{66C5F612-5A89-4C48-BDA9-92B6DBF678F8}"/>
          </ac:spMkLst>
        </pc:spChg>
        <pc:spChg chg="mod">
          <ac:chgData name="Aurelien Domont" userId="6da7715ce44349b3" providerId="LiveId" clId="{484DD64F-11B8-41CE-8137-F22080D59C6C}" dt="2021-07-23T04:47:42.187" v="1292" actId="20577"/>
          <ac:spMkLst>
            <pc:docMk/>
            <pc:sldMk cId="1209091634" sldId="2192"/>
            <ac:spMk id="46" creationId="{5EDAE2A3-62C3-43E6-BBF2-1A1A1EBD0B6E}"/>
          </ac:spMkLst>
        </pc:spChg>
        <pc:spChg chg="mod">
          <ac:chgData name="Aurelien Domont" userId="6da7715ce44349b3" providerId="LiveId" clId="{484DD64F-11B8-41CE-8137-F22080D59C6C}" dt="2021-07-23T04:58:42.066" v="1727" actId="1038"/>
          <ac:spMkLst>
            <pc:docMk/>
            <pc:sldMk cId="1209091634" sldId="2192"/>
            <ac:spMk id="48" creationId="{76C9DD00-67A5-4365-A8E4-8BE79F30DFD3}"/>
          </ac:spMkLst>
        </pc:spChg>
        <pc:spChg chg="mod">
          <ac:chgData name="Aurelien Domont" userId="6da7715ce44349b3" providerId="LiveId" clId="{484DD64F-11B8-41CE-8137-F22080D59C6C}" dt="2021-07-23T04:57:06.972" v="1666" actId="1038"/>
          <ac:spMkLst>
            <pc:docMk/>
            <pc:sldMk cId="1209091634" sldId="2192"/>
            <ac:spMk id="49" creationId="{357A4FF3-34B5-4549-BAFF-E8D4357C8F42}"/>
          </ac:spMkLst>
        </pc:spChg>
        <pc:spChg chg="mod">
          <ac:chgData name="Aurelien Domont" userId="6da7715ce44349b3" providerId="LiveId" clId="{484DD64F-11B8-41CE-8137-F22080D59C6C}" dt="2021-07-23T04:57:13.770" v="1686" actId="1038"/>
          <ac:spMkLst>
            <pc:docMk/>
            <pc:sldMk cId="1209091634" sldId="2192"/>
            <ac:spMk id="50" creationId="{9F7306CF-551A-43F0-88F1-076DA251C3BE}"/>
          </ac:spMkLst>
        </pc:spChg>
        <pc:spChg chg="add mod">
          <ac:chgData name="Aurelien Domont" userId="6da7715ce44349b3" providerId="LiveId" clId="{484DD64F-11B8-41CE-8137-F22080D59C6C}" dt="2021-07-23T04:56:39.975" v="1629" actId="1038"/>
          <ac:spMkLst>
            <pc:docMk/>
            <pc:sldMk cId="1209091634" sldId="2192"/>
            <ac:spMk id="51" creationId="{F7737196-7906-4B97-80EC-7AD0065DD5D6}"/>
          </ac:spMkLst>
        </pc:spChg>
        <pc:spChg chg="mod">
          <ac:chgData name="Aurelien Domont" userId="6da7715ce44349b3" providerId="LiveId" clId="{484DD64F-11B8-41CE-8137-F22080D59C6C}" dt="2021-07-23T04:57:35.395" v="1711" actId="1038"/>
          <ac:spMkLst>
            <pc:docMk/>
            <pc:sldMk cId="1209091634" sldId="2192"/>
            <ac:spMk id="52" creationId="{82F73540-0B81-4EC5-9FE2-004B8ABC7144}"/>
          </ac:spMkLst>
        </pc:spChg>
        <pc:spChg chg="add del mod">
          <ac:chgData name="Aurelien Domont" userId="6da7715ce44349b3" providerId="LiveId" clId="{484DD64F-11B8-41CE-8137-F22080D59C6C}" dt="2021-07-23T04:56:07.907" v="1582" actId="478"/>
          <ac:spMkLst>
            <pc:docMk/>
            <pc:sldMk cId="1209091634" sldId="2192"/>
            <ac:spMk id="54" creationId="{AC47FE0F-593F-4D15-8E94-58E5FD146149}"/>
          </ac:spMkLst>
        </pc:spChg>
        <pc:spChg chg="add del mod">
          <ac:chgData name="Aurelien Domont" userId="6da7715ce44349b3" providerId="LiveId" clId="{484DD64F-11B8-41CE-8137-F22080D59C6C}" dt="2021-07-23T04:56:05.815" v="1581" actId="478"/>
          <ac:spMkLst>
            <pc:docMk/>
            <pc:sldMk cId="1209091634" sldId="2192"/>
            <ac:spMk id="55" creationId="{21B9227C-4F69-437C-9F6D-E4F3EF807579}"/>
          </ac:spMkLst>
        </pc:spChg>
        <pc:spChg chg="add del mod">
          <ac:chgData name="Aurelien Domont" userId="6da7715ce44349b3" providerId="LiveId" clId="{484DD64F-11B8-41CE-8137-F22080D59C6C}" dt="2021-07-23T04:56:09.601" v="1584" actId="478"/>
          <ac:spMkLst>
            <pc:docMk/>
            <pc:sldMk cId="1209091634" sldId="2192"/>
            <ac:spMk id="56" creationId="{00E82AF9-F823-4520-ACF4-16CCCC01A2F8}"/>
          </ac:spMkLst>
        </pc:spChg>
        <pc:picChg chg="mod">
          <ac:chgData name="Aurelien Domont" userId="6da7715ce44349b3" providerId="LiveId" clId="{484DD64F-11B8-41CE-8137-F22080D59C6C}" dt="2021-07-23T04:58:42.066" v="1727" actId="1038"/>
          <ac:picMkLst>
            <pc:docMk/>
            <pc:sldMk cId="1209091634" sldId="2192"/>
            <ac:picMk id="28" creationId="{FF355F01-F007-4C24-AA95-9E4FE7DF0ACD}"/>
          </ac:picMkLst>
        </pc:picChg>
        <pc:picChg chg="add mod">
          <ac:chgData name="Aurelien Domont" userId="6da7715ce44349b3" providerId="LiveId" clId="{484DD64F-11B8-41CE-8137-F22080D59C6C}" dt="2021-07-23T04:56:39.975" v="1629" actId="1038"/>
          <ac:picMkLst>
            <pc:docMk/>
            <pc:sldMk cId="1209091634" sldId="2192"/>
            <ac:picMk id="29" creationId="{CACEE143-239B-4F4D-A484-117591EBDFAE}"/>
          </ac:picMkLst>
        </pc:picChg>
        <pc:picChg chg="mod">
          <ac:chgData name="Aurelien Domont" userId="6da7715ce44349b3" providerId="LiveId" clId="{484DD64F-11B8-41CE-8137-F22080D59C6C}" dt="2021-07-23T04:57:06.972" v="1666" actId="1038"/>
          <ac:picMkLst>
            <pc:docMk/>
            <pc:sldMk cId="1209091634" sldId="2192"/>
            <ac:picMk id="31" creationId="{89979A0A-C018-44ED-8A86-BF1A8BB599EB}"/>
          </ac:picMkLst>
        </pc:picChg>
        <pc:picChg chg="mod">
          <ac:chgData name="Aurelien Domont" userId="6da7715ce44349b3" providerId="LiveId" clId="{484DD64F-11B8-41CE-8137-F22080D59C6C}" dt="2021-07-23T04:57:13.770" v="1686" actId="1038"/>
          <ac:picMkLst>
            <pc:docMk/>
            <pc:sldMk cId="1209091634" sldId="2192"/>
            <ac:picMk id="32" creationId="{1E632C31-E784-4327-B032-5A1C8A2B01A8}"/>
          </ac:picMkLst>
        </pc:picChg>
        <pc:picChg chg="mod">
          <ac:chgData name="Aurelien Domont" userId="6da7715ce44349b3" providerId="LiveId" clId="{484DD64F-11B8-41CE-8137-F22080D59C6C}" dt="2021-07-23T04:57:35.395" v="1711" actId="1038"/>
          <ac:picMkLst>
            <pc:docMk/>
            <pc:sldMk cId="1209091634" sldId="2192"/>
            <ac:picMk id="33" creationId="{E020A810-A41E-42A1-9544-5550D5B20660}"/>
          </ac:picMkLst>
        </pc:picChg>
      </pc:sldChg>
      <pc:sldChg chg="addSp modSp new del mod ord">
        <pc:chgData name="Aurelien Domont" userId="6da7715ce44349b3" providerId="LiveId" clId="{484DD64F-11B8-41CE-8137-F22080D59C6C}" dt="2021-07-23T04:44:17.308" v="1268" actId="47"/>
        <pc:sldMkLst>
          <pc:docMk/>
          <pc:sldMk cId="1830811153" sldId="2193"/>
        </pc:sldMkLst>
        <pc:spChg chg="add mod">
          <ac:chgData name="Aurelien Domont" userId="6da7715ce44349b3" providerId="LiveId" clId="{484DD64F-11B8-41CE-8137-F22080D59C6C}" dt="2021-07-21T04:11:38.653" v="37" actId="13822"/>
          <ac:spMkLst>
            <pc:docMk/>
            <pc:sldMk cId="1830811153" sldId="2193"/>
            <ac:spMk id="3" creationId="{5421F031-40D5-4DCD-8213-9FE6CEB0D16A}"/>
          </ac:spMkLst>
        </pc:spChg>
      </pc:sldChg>
      <pc:sldChg chg="addSp modSp add del mod ord">
        <pc:chgData name="Aurelien Domont" userId="6da7715ce44349b3" providerId="LiveId" clId="{484DD64F-11B8-41CE-8137-F22080D59C6C}" dt="2021-07-23T04:10:01.455" v="837" actId="47"/>
        <pc:sldMkLst>
          <pc:docMk/>
          <pc:sldMk cId="209758756" sldId="2194"/>
        </pc:sldMkLst>
        <pc:spChg chg="mod">
          <ac:chgData name="Aurelien Domont" userId="6da7715ce44349b3" providerId="LiveId" clId="{484DD64F-11B8-41CE-8137-F22080D59C6C}" dt="2021-07-21T04:14:37.856" v="104" actId="1035"/>
          <ac:spMkLst>
            <pc:docMk/>
            <pc:sldMk cId="209758756" sldId="2194"/>
            <ac:spMk id="6" creationId="{80C2FA24-C3FF-4F99-8694-BA262AB8070A}"/>
          </ac:spMkLst>
        </pc:spChg>
        <pc:spChg chg="mod">
          <ac:chgData name="Aurelien Domont" userId="6da7715ce44349b3" providerId="LiveId" clId="{484DD64F-11B8-41CE-8137-F22080D59C6C}" dt="2021-07-21T04:14:37.856" v="104" actId="1035"/>
          <ac:spMkLst>
            <pc:docMk/>
            <pc:sldMk cId="209758756" sldId="2194"/>
            <ac:spMk id="7" creationId="{AA474FA7-23F8-48D3-A4A1-46C7E7EF8CBF}"/>
          </ac:spMkLst>
        </pc:spChg>
        <pc:spChg chg="mod">
          <ac:chgData name="Aurelien Domont" userId="6da7715ce44349b3" providerId="LiveId" clId="{484DD64F-11B8-41CE-8137-F22080D59C6C}" dt="2021-07-21T04:14:37.856" v="104" actId="1035"/>
          <ac:spMkLst>
            <pc:docMk/>
            <pc:sldMk cId="209758756" sldId="2194"/>
            <ac:spMk id="8" creationId="{44D82846-5412-4854-9CE9-6BD4A4D3F201}"/>
          </ac:spMkLst>
        </pc:spChg>
        <pc:spChg chg="mod">
          <ac:chgData name="Aurelien Domont" userId="6da7715ce44349b3" providerId="LiveId" clId="{484DD64F-11B8-41CE-8137-F22080D59C6C}" dt="2021-07-21T04:14:49.904" v="107" actId="948"/>
          <ac:spMkLst>
            <pc:docMk/>
            <pc:sldMk cId="209758756" sldId="2194"/>
            <ac:spMk id="10" creationId="{F6F130AE-016B-49E7-B056-02422308B35C}"/>
          </ac:spMkLst>
        </pc:spChg>
        <pc:spChg chg="mod">
          <ac:chgData name="Aurelien Domont" userId="6da7715ce44349b3" providerId="LiveId" clId="{484DD64F-11B8-41CE-8137-F22080D59C6C}" dt="2021-07-21T04:14:45.756" v="105" actId="948"/>
          <ac:spMkLst>
            <pc:docMk/>
            <pc:sldMk cId="209758756" sldId="2194"/>
            <ac:spMk id="11" creationId="{381FC75F-03AC-4E06-95A5-77AA464D139B}"/>
          </ac:spMkLst>
        </pc:spChg>
        <pc:spChg chg="mod">
          <ac:chgData name="Aurelien Domont" userId="6da7715ce44349b3" providerId="LiveId" clId="{484DD64F-11B8-41CE-8137-F22080D59C6C}" dt="2021-07-21T04:14:48.366" v="106" actId="948"/>
          <ac:spMkLst>
            <pc:docMk/>
            <pc:sldMk cId="209758756" sldId="2194"/>
            <ac:spMk id="12" creationId="{F22BF9F2-93B5-4D57-85D0-BA4BB3074ECE}"/>
          </ac:spMkLst>
        </pc:spChg>
        <pc:spChg chg="add mod">
          <ac:chgData name="Aurelien Domont" userId="6da7715ce44349b3" providerId="LiveId" clId="{484DD64F-11B8-41CE-8137-F22080D59C6C}" dt="2021-07-21T04:27:49.407" v="340" actId="20577"/>
          <ac:spMkLst>
            <pc:docMk/>
            <pc:sldMk cId="209758756" sldId="2194"/>
            <ac:spMk id="15" creationId="{68E4A892-C126-4C2F-927C-D44F69692245}"/>
          </ac:spMkLst>
        </pc:spChg>
        <pc:spChg chg="mod">
          <ac:chgData name="Aurelien Domont" userId="6da7715ce44349b3" providerId="LiveId" clId="{484DD64F-11B8-41CE-8137-F22080D59C6C}" dt="2021-07-21T04:22:24.004" v="325" actId="20577"/>
          <ac:spMkLst>
            <pc:docMk/>
            <pc:sldMk cId="209758756" sldId="2194"/>
            <ac:spMk id="16" creationId="{6C2BB713-9637-4B9B-938F-E9768876782A}"/>
          </ac:spMkLst>
        </pc:spChg>
        <pc:spChg chg="add mod">
          <ac:chgData name="Aurelien Domont" userId="6da7715ce44349b3" providerId="LiveId" clId="{484DD64F-11B8-41CE-8137-F22080D59C6C}" dt="2021-07-21T04:28:04.512" v="345" actId="20577"/>
          <ac:spMkLst>
            <pc:docMk/>
            <pc:sldMk cId="209758756" sldId="2194"/>
            <ac:spMk id="17" creationId="{D405A784-5314-48D0-AFCA-C0161F0F4A5E}"/>
          </ac:spMkLst>
        </pc:spChg>
        <pc:cxnChg chg="mod">
          <ac:chgData name="Aurelien Domont" userId="6da7715ce44349b3" providerId="LiveId" clId="{484DD64F-11B8-41CE-8137-F22080D59C6C}" dt="2021-07-21T04:15:00.353" v="121" actId="14100"/>
          <ac:cxnSpMkLst>
            <pc:docMk/>
            <pc:sldMk cId="209758756" sldId="2194"/>
            <ac:cxnSpMk id="9" creationId="{938E2F11-EEE6-4CE3-AA18-0A0EFEAFC83C}"/>
          </ac:cxnSpMkLst>
        </pc:cxnChg>
        <pc:cxnChg chg="mod">
          <ac:chgData name="Aurelien Domont" userId="6da7715ce44349b3" providerId="LiveId" clId="{484DD64F-11B8-41CE-8137-F22080D59C6C}" dt="2021-07-21T04:15:00.353" v="121" actId="14100"/>
          <ac:cxnSpMkLst>
            <pc:docMk/>
            <pc:sldMk cId="209758756" sldId="2194"/>
            <ac:cxnSpMk id="14" creationId="{BD538E77-947C-4FAE-B4B2-3DD1EF8F7624}"/>
          </ac:cxnSpMkLst>
        </pc:cxnChg>
      </pc:sldChg>
      <pc:sldChg chg="add del">
        <pc:chgData name="Aurelien Domont" userId="6da7715ce44349b3" providerId="LiveId" clId="{484DD64F-11B8-41CE-8137-F22080D59C6C}" dt="2021-07-22T07:37:40.172" v="631" actId="47"/>
        <pc:sldMkLst>
          <pc:docMk/>
          <pc:sldMk cId="4176516040" sldId="2195"/>
        </pc:sldMkLst>
      </pc:sldChg>
      <pc:sldChg chg="addSp delSp modSp add del mod">
        <pc:chgData name="Aurelien Domont" userId="6da7715ce44349b3" providerId="LiveId" clId="{484DD64F-11B8-41CE-8137-F22080D59C6C}" dt="2021-07-23T04:27:10.813" v="1006" actId="47"/>
        <pc:sldMkLst>
          <pc:docMk/>
          <pc:sldMk cId="4294935817" sldId="2196"/>
        </pc:sldMkLst>
        <pc:spChg chg="del">
          <ac:chgData name="Aurelien Domont" userId="6da7715ce44349b3" providerId="LiveId" clId="{484DD64F-11B8-41CE-8137-F22080D59C6C}" dt="2021-07-21T04:26:04.653" v="327" actId="478"/>
          <ac:spMkLst>
            <pc:docMk/>
            <pc:sldMk cId="4294935817" sldId="2196"/>
            <ac:spMk id="6" creationId="{80C2FA24-C3FF-4F99-8694-BA262AB8070A}"/>
          </ac:spMkLst>
        </pc:spChg>
        <pc:spChg chg="del">
          <ac:chgData name="Aurelien Domont" userId="6da7715ce44349b3" providerId="LiveId" clId="{484DD64F-11B8-41CE-8137-F22080D59C6C}" dt="2021-07-21T04:26:04.653" v="327" actId="478"/>
          <ac:spMkLst>
            <pc:docMk/>
            <pc:sldMk cId="4294935817" sldId="2196"/>
            <ac:spMk id="7" creationId="{AA474FA7-23F8-48D3-A4A1-46C7E7EF8CBF}"/>
          </ac:spMkLst>
        </pc:spChg>
        <pc:spChg chg="del">
          <ac:chgData name="Aurelien Domont" userId="6da7715ce44349b3" providerId="LiveId" clId="{484DD64F-11B8-41CE-8137-F22080D59C6C}" dt="2021-07-21T04:26:04.653" v="327" actId="478"/>
          <ac:spMkLst>
            <pc:docMk/>
            <pc:sldMk cId="4294935817" sldId="2196"/>
            <ac:spMk id="8" creationId="{44D82846-5412-4854-9CE9-6BD4A4D3F201}"/>
          </ac:spMkLst>
        </pc:spChg>
        <pc:spChg chg="del">
          <ac:chgData name="Aurelien Domont" userId="6da7715ce44349b3" providerId="LiveId" clId="{484DD64F-11B8-41CE-8137-F22080D59C6C}" dt="2021-07-21T04:26:04.653" v="327" actId="478"/>
          <ac:spMkLst>
            <pc:docMk/>
            <pc:sldMk cId="4294935817" sldId="2196"/>
            <ac:spMk id="10" creationId="{F6F130AE-016B-49E7-B056-02422308B35C}"/>
          </ac:spMkLst>
        </pc:spChg>
        <pc:spChg chg="del">
          <ac:chgData name="Aurelien Domont" userId="6da7715ce44349b3" providerId="LiveId" clId="{484DD64F-11B8-41CE-8137-F22080D59C6C}" dt="2021-07-21T04:26:04.653" v="327" actId="478"/>
          <ac:spMkLst>
            <pc:docMk/>
            <pc:sldMk cId="4294935817" sldId="2196"/>
            <ac:spMk id="11" creationId="{381FC75F-03AC-4E06-95A5-77AA464D139B}"/>
          </ac:spMkLst>
        </pc:spChg>
        <pc:spChg chg="del">
          <ac:chgData name="Aurelien Domont" userId="6da7715ce44349b3" providerId="LiveId" clId="{484DD64F-11B8-41CE-8137-F22080D59C6C}" dt="2021-07-21T04:26:04.653" v="327" actId="478"/>
          <ac:spMkLst>
            <pc:docMk/>
            <pc:sldMk cId="4294935817" sldId="2196"/>
            <ac:spMk id="12" creationId="{F22BF9F2-93B5-4D57-85D0-BA4BB3074ECE}"/>
          </ac:spMkLst>
        </pc:spChg>
        <pc:spChg chg="del">
          <ac:chgData name="Aurelien Domont" userId="6da7715ce44349b3" providerId="LiveId" clId="{484DD64F-11B8-41CE-8137-F22080D59C6C}" dt="2021-07-21T04:26:04.653" v="327" actId="478"/>
          <ac:spMkLst>
            <pc:docMk/>
            <pc:sldMk cId="4294935817" sldId="2196"/>
            <ac:spMk id="15" creationId="{68E4A892-C126-4C2F-927C-D44F69692245}"/>
          </ac:spMkLst>
        </pc:spChg>
        <pc:spChg chg="del">
          <ac:chgData name="Aurelien Domont" userId="6da7715ce44349b3" providerId="LiveId" clId="{484DD64F-11B8-41CE-8137-F22080D59C6C}" dt="2021-07-21T04:26:04.653" v="327" actId="478"/>
          <ac:spMkLst>
            <pc:docMk/>
            <pc:sldMk cId="4294935817" sldId="2196"/>
            <ac:spMk id="17" creationId="{D405A784-5314-48D0-AFCA-C0161F0F4A5E}"/>
          </ac:spMkLst>
        </pc:spChg>
        <pc:spChg chg="add mod">
          <ac:chgData name="Aurelien Domont" userId="6da7715ce44349b3" providerId="LiveId" clId="{484DD64F-11B8-41CE-8137-F22080D59C6C}" dt="2021-07-21T04:26:08.302" v="328"/>
          <ac:spMkLst>
            <pc:docMk/>
            <pc:sldMk cId="4294935817" sldId="2196"/>
            <ac:spMk id="18" creationId="{16BD7F51-0767-4177-A440-B765CE76494D}"/>
          </ac:spMkLst>
        </pc:spChg>
        <pc:spChg chg="add mod">
          <ac:chgData name="Aurelien Domont" userId="6da7715ce44349b3" providerId="LiveId" clId="{484DD64F-11B8-41CE-8137-F22080D59C6C}" dt="2021-07-21T04:26:08.302" v="328"/>
          <ac:spMkLst>
            <pc:docMk/>
            <pc:sldMk cId="4294935817" sldId="2196"/>
            <ac:spMk id="19" creationId="{67AECFA0-9B8D-4EB1-93C9-D683C5FBF2C0}"/>
          </ac:spMkLst>
        </pc:spChg>
        <pc:cxnChg chg="del">
          <ac:chgData name="Aurelien Domont" userId="6da7715ce44349b3" providerId="LiveId" clId="{484DD64F-11B8-41CE-8137-F22080D59C6C}" dt="2021-07-21T04:26:04.653" v="327" actId="478"/>
          <ac:cxnSpMkLst>
            <pc:docMk/>
            <pc:sldMk cId="4294935817" sldId="2196"/>
            <ac:cxnSpMk id="9" creationId="{938E2F11-EEE6-4CE3-AA18-0A0EFEAFC83C}"/>
          </ac:cxnSpMkLst>
        </pc:cxnChg>
        <pc:cxnChg chg="del">
          <ac:chgData name="Aurelien Domont" userId="6da7715ce44349b3" providerId="LiveId" clId="{484DD64F-11B8-41CE-8137-F22080D59C6C}" dt="2021-07-21T04:26:04.653" v="327" actId="478"/>
          <ac:cxnSpMkLst>
            <pc:docMk/>
            <pc:sldMk cId="4294935817" sldId="2196"/>
            <ac:cxnSpMk id="14" creationId="{BD538E77-947C-4FAE-B4B2-3DD1EF8F7624}"/>
          </ac:cxnSpMkLst>
        </pc:cxnChg>
      </pc:sldChg>
      <pc:sldChg chg="addSp delSp modSp add del mod ord">
        <pc:chgData name="Aurelien Domont" userId="6da7715ce44349b3" providerId="LiveId" clId="{484DD64F-11B8-41CE-8137-F22080D59C6C}" dt="2021-07-23T04:10:03.869" v="838" actId="47"/>
        <pc:sldMkLst>
          <pc:docMk/>
          <pc:sldMk cId="3975634627" sldId="2197"/>
        </pc:sldMkLst>
        <pc:spChg chg="add mod">
          <ac:chgData name="Aurelien Domont" userId="6da7715ce44349b3" providerId="LiveId" clId="{484DD64F-11B8-41CE-8137-F22080D59C6C}" dt="2021-07-21T04:30:35.183" v="396" actId="1035"/>
          <ac:spMkLst>
            <pc:docMk/>
            <pc:sldMk cId="3975634627" sldId="2197"/>
            <ac:spMk id="2" creationId="{49C9F90D-3606-495B-9201-34A27BF7A42D}"/>
          </ac:spMkLst>
        </pc:spChg>
        <pc:spChg chg="mod">
          <ac:chgData name="Aurelien Domont" userId="6da7715ce44349b3" providerId="LiveId" clId="{484DD64F-11B8-41CE-8137-F22080D59C6C}" dt="2021-07-21T04:31:12.523" v="444" actId="20577"/>
          <ac:spMkLst>
            <pc:docMk/>
            <pc:sldMk cId="3975634627" sldId="2197"/>
            <ac:spMk id="15" creationId="{68E4A892-C126-4C2F-927C-D44F69692245}"/>
          </ac:spMkLst>
        </pc:spChg>
        <pc:spChg chg="mod">
          <ac:chgData name="Aurelien Domont" userId="6da7715ce44349b3" providerId="LiveId" clId="{484DD64F-11B8-41CE-8137-F22080D59C6C}" dt="2021-07-21T04:30:07.807" v="389" actId="20577"/>
          <ac:spMkLst>
            <pc:docMk/>
            <pc:sldMk cId="3975634627" sldId="2197"/>
            <ac:spMk id="16" creationId="{6C2BB713-9637-4B9B-938F-E9768876782A}"/>
          </ac:spMkLst>
        </pc:spChg>
        <pc:spChg chg="del">
          <ac:chgData name="Aurelien Domont" userId="6da7715ce44349b3" providerId="LiveId" clId="{484DD64F-11B8-41CE-8137-F22080D59C6C}" dt="2021-07-21T04:28:56.573" v="347" actId="478"/>
          <ac:spMkLst>
            <pc:docMk/>
            <pc:sldMk cId="3975634627" sldId="2197"/>
            <ac:spMk id="17" creationId="{D405A784-5314-48D0-AFCA-C0161F0F4A5E}"/>
          </ac:spMkLst>
        </pc:spChg>
        <pc:spChg chg="add mod">
          <ac:chgData name="Aurelien Domont" userId="6da7715ce44349b3" providerId="LiveId" clId="{484DD64F-11B8-41CE-8137-F22080D59C6C}" dt="2021-07-21T04:30:35.183" v="396" actId="1035"/>
          <ac:spMkLst>
            <pc:docMk/>
            <pc:sldMk cId="3975634627" sldId="2197"/>
            <ac:spMk id="18" creationId="{EE925BBA-D2EB-4000-BDB6-05D95DDF45F3}"/>
          </ac:spMkLst>
        </pc:spChg>
        <pc:spChg chg="add mod">
          <ac:chgData name="Aurelien Domont" userId="6da7715ce44349b3" providerId="LiveId" clId="{484DD64F-11B8-41CE-8137-F22080D59C6C}" dt="2021-07-21T04:30:35.183" v="396" actId="1035"/>
          <ac:spMkLst>
            <pc:docMk/>
            <pc:sldMk cId="3975634627" sldId="2197"/>
            <ac:spMk id="19" creationId="{D5B94190-586B-4762-8F62-7C91D7F01CE4}"/>
          </ac:spMkLst>
        </pc:spChg>
        <pc:spChg chg="add mod">
          <ac:chgData name="Aurelien Domont" userId="6da7715ce44349b3" providerId="LiveId" clId="{484DD64F-11B8-41CE-8137-F22080D59C6C}" dt="2021-07-21T04:30:35.183" v="396" actId="1035"/>
          <ac:spMkLst>
            <pc:docMk/>
            <pc:sldMk cId="3975634627" sldId="2197"/>
            <ac:spMk id="20" creationId="{8FB4C652-E152-4F9D-88FB-38C464AB1EF2}"/>
          </ac:spMkLst>
        </pc:spChg>
        <pc:spChg chg="add mod">
          <ac:chgData name="Aurelien Domont" userId="6da7715ce44349b3" providerId="LiveId" clId="{484DD64F-11B8-41CE-8137-F22080D59C6C}" dt="2021-07-21T04:30:35.183" v="396" actId="1035"/>
          <ac:spMkLst>
            <pc:docMk/>
            <pc:sldMk cId="3975634627" sldId="2197"/>
            <ac:spMk id="21" creationId="{F2437C52-010C-4EBF-BBCE-0E50591FB98A}"/>
          </ac:spMkLst>
        </pc:spChg>
        <pc:spChg chg="add mod">
          <ac:chgData name="Aurelien Domont" userId="6da7715ce44349b3" providerId="LiveId" clId="{484DD64F-11B8-41CE-8137-F22080D59C6C}" dt="2021-07-21T04:30:35.183" v="396" actId="1035"/>
          <ac:spMkLst>
            <pc:docMk/>
            <pc:sldMk cId="3975634627" sldId="2197"/>
            <ac:spMk id="22" creationId="{56D41D08-58DE-4B01-AFB6-B3B5DA2F554F}"/>
          </ac:spMkLst>
        </pc:spChg>
        <pc:spChg chg="add mod">
          <ac:chgData name="Aurelien Domont" userId="6da7715ce44349b3" providerId="LiveId" clId="{484DD64F-11B8-41CE-8137-F22080D59C6C}" dt="2021-07-21T04:30:35.183" v="396" actId="1035"/>
          <ac:spMkLst>
            <pc:docMk/>
            <pc:sldMk cId="3975634627" sldId="2197"/>
            <ac:spMk id="23" creationId="{EA6679B0-9960-4EF1-8A84-788EE5B4064E}"/>
          </ac:spMkLst>
        </pc:spChg>
        <pc:spChg chg="add mod">
          <ac:chgData name="Aurelien Domont" userId="6da7715ce44349b3" providerId="LiveId" clId="{484DD64F-11B8-41CE-8137-F22080D59C6C}" dt="2021-07-21T04:30:35.183" v="396" actId="1035"/>
          <ac:spMkLst>
            <pc:docMk/>
            <pc:sldMk cId="3975634627" sldId="2197"/>
            <ac:spMk id="24" creationId="{267A9F5F-6FAE-4790-85DC-D47AE16B0E9F}"/>
          </ac:spMkLst>
        </pc:spChg>
        <pc:spChg chg="add mod">
          <ac:chgData name="Aurelien Domont" userId="6da7715ce44349b3" providerId="LiveId" clId="{484DD64F-11B8-41CE-8137-F22080D59C6C}" dt="2021-07-21T04:30:35.183" v="396" actId="1035"/>
          <ac:spMkLst>
            <pc:docMk/>
            <pc:sldMk cId="3975634627" sldId="2197"/>
            <ac:spMk id="25" creationId="{CC7E98FA-3E5D-4DCC-9070-63922C461F93}"/>
          </ac:spMkLst>
        </pc:spChg>
        <pc:spChg chg="add mod">
          <ac:chgData name="Aurelien Domont" userId="6da7715ce44349b3" providerId="LiveId" clId="{484DD64F-11B8-41CE-8137-F22080D59C6C}" dt="2021-07-21T04:30:35.183" v="396" actId="1035"/>
          <ac:spMkLst>
            <pc:docMk/>
            <pc:sldMk cId="3975634627" sldId="2197"/>
            <ac:spMk id="26" creationId="{C7991C61-A51D-4A0F-91E9-FC63D6829799}"/>
          </ac:spMkLst>
        </pc:spChg>
        <pc:spChg chg="add mod">
          <ac:chgData name="Aurelien Domont" userId="6da7715ce44349b3" providerId="LiveId" clId="{484DD64F-11B8-41CE-8137-F22080D59C6C}" dt="2021-07-21T04:30:35.183" v="396" actId="1035"/>
          <ac:spMkLst>
            <pc:docMk/>
            <pc:sldMk cId="3975634627" sldId="2197"/>
            <ac:spMk id="27" creationId="{69E83687-111F-4C8F-82F8-1100A830A799}"/>
          </ac:spMkLst>
        </pc:spChg>
        <pc:spChg chg="add mod">
          <ac:chgData name="Aurelien Domont" userId="6da7715ce44349b3" providerId="LiveId" clId="{484DD64F-11B8-41CE-8137-F22080D59C6C}" dt="2021-07-21T04:30:35.183" v="396" actId="1035"/>
          <ac:spMkLst>
            <pc:docMk/>
            <pc:sldMk cId="3975634627" sldId="2197"/>
            <ac:spMk id="28" creationId="{3BB8DC63-D8AC-44B7-AD6B-3344E0157ED9}"/>
          </ac:spMkLst>
        </pc:spChg>
        <pc:spChg chg="add mod">
          <ac:chgData name="Aurelien Domont" userId="6da7715ce44349b3" providerId="LiveId" clId="{484DD64F-11B8-41CE-8137-F22080D59C6C}" dt="2021-07-21T04:30:35.183" v="396" actId="1035"/>
          <ac:spMkLst>
            <pc:docMk/>
            <pc:sldMk cId="3975634627" sldId="2197"/>
            <ac:spMk id="29" creationId="{3FAD4126-4F73-43D3-8CAA-EDADF7C21270}"/>
          </ac:spMkLst>
        </pc:spChg>
        <pc:spChg chg="add mod">
          <ac:chgData name="Aurelien Domont" userId="6da7715ce44349b3" providerId="LiveId" clId="{484DD64F-11B8-41CE-8137-F22080D59C6C}" dt="2021-07-21T04:31:58.523" v="450" actId="20577"/>
          <ac:spMkLst>
            <pc:docMk/>
            <pc:sldMk cId="3975634627" sldId="2197"/>
            <ac:spMk id="30" creationId="{DF3BA851-E92A-44AA-8DFF-1F3C447EF430}"/>
          </ac:spMkLst>
        </pc:spChg>
      </pc:sldChg>
      <pc:sldChg chg="addSp delSp modSp del mod ord">
        <pc:chgData name="Aurelien Domont" userId="6da7715ce44349b3" providerId="LiveId" clId="{484DD64F-11B8-41CE-8137-F22080D59C6C}" dt="2021-07-23T04:10:06.457" v="839" actId="47"/>
        <pc:sldMkLst>
          <pc:docMk/>
          <pc:sldMk cId="937669423" sldId="2198"/>
        </pc:sldMkLst>
        <pc:spChg chg="mod">
          <ac:chgData name="Aurelien Domont" userId="6da7715ce44349b3" providerId="LiveId" clId="{484DD64F-11B8-41CE-8137-F22080D59C6C}" dt="2021-07-22T07:36:44.201" v="618" actId="1038"/>
          <ac:spMkLst>
            <pc:docMk/>
            <pc:sldMk cId="937669423" sldId="2198"/>
            <ac:spMk id="2" creationId="{49C9F90D-3606-495B-9201-34A27BF7A42D}"/>
          </ac:spMkLst>
        </pc:spChg>
        <pc:spChg chg="mod">
          <ac:chgData name="Aurelien Domont" userId="6da7715ce44349b3" providerId="LiveId" clId="{484DD64F-11B8-41CE-8137-F22080D59C6C}" dt="2021-07-22T07:36:39.679" v="616" actId="14100"/>
          <ac:spMkLst>
            <pc:docMk/>
            <pc:sldMk cId="937669423" sldId="2198"/>
            <ac:spMk id="3" creationId="{99E3DBA2-B4B6-4ECE-8106-2DABAA5319D4}"/>
          </ac:spMkLst>
        </pc:spChg>
        <pc:spChg chg="add del mod">
          <ac:chgData name="Aurelien Domont" userId="6da7715ce44349b3" providerId="LiveId" clId="{484DD64F-11B8-41CE-8137-F22080D59C6C}" dt="2021-07-22T07:36:26.489" v="614" actId="478"/>
          <ac:spMkLst>
            <pc:docMk/>
            <pc:sldMk cId="937669423" sldId="2198"/>
            <ac:spMk id="4" creationId="{9818C474-CA77-4548-9E08-86666461ED54}"/>
          </ac:spMkLst>
        </pc:spChg>
        <pc:spChg chg="mod">
          <ac:chgData name="Aurelien Domont" userId="6da7715ce44349b3" providerId="LiveId" clId="{484DD64F-11B8-41CE-8137-F22080D59C6C}" dt="2021-07-22T07:28:25.538" v="557" actId="20577"/>
          <ac:spMkLst>
            <pc:docMk/>
            <pc:sldMk cId="937669423" sldId="2198"/>
            <ac:spMk id="16" creationId="{6C2BB713-9637-4B9B-938F-E9768876782A}"/>
          </ac:spMkLst>
        </pc:spChg>
        <pc:spChg chg="mod">
          <ac:chgData name="Aurelien Domont" userId="6da7715ce44349b3" providerId="LiveId" clId="{484DD64F-11B8-41CE-8137-F22080D59C6C}" dt="2021-07-22T07:36:44.201" v="618" actId="1038"/>
          <ac:spMkLst>
            <pc:docMk/>
            <pc:sldMk cId="937669423" sldId="2198"/>
            <ac:spMk id="18" creationId="{EE925BBA-D2EB-4000-BDB6-05D95DDF45F3}"/>
          </ac:spMkLst>
        </pc:spChg>
        <pc:spChg chg="mod">
          <ac:chgData name="Aurelien Domont" userId="6da7715ce44349b3" providerId="LiveId" clId="{484DD64F-11B8-41CE-8137-F22080D59C6C}" dt="2021-07-22T07:36:44.201" v="618" actId="1038"/>
          <ac:spMkLst>
            <pc:docMk/>
            <pc:sldMk cId="937669423" sldId="2198"/>
            <ac:spMk id="19" creationId="{D5B94190-586B-4762-8F62-7C91D7F01CE4}"/>
          </ac:spMkLst>
        </pc:spChg>
        <pc:spChg chg="mod">
          <ac:chgData name="Aurelien Domont" userId="6da7715ce44349b3" providerId="LiveId" clId="{484DD64F-11B8-41CE-8137-F22080D59C6C}" dt="2021-07-22T07:36:44.201" v="618" actId="1038"/>
          <ac:spMkLst>
            <pc:docMk/>
            <pc:sldMk cId="937669423" sldId="2198"/>
            <ac:spMk id="20" creationId="{8FB4C652-E152-4F9D-88FB-38C464AB1EF2}"/>
          </ac:spMkLst>
        </pc:spChg>
        <pc:spChg chg="mod">
          <ac:chgData name="Aurelien Domont" userId="6da7715ce44349b3" providerId="LiveId" clId="{484DD64F-11B8-41CE-8137-F22080D59C6C}" dt="2021-07-22T07:36:44.201" v="618" actId="1038"/>
          <ac:spMkLst>
            <pc:docMk/>
            <pc:sldMk cId="937669423" sldId="2198"/>
            <ac:spMk id="21" creationId="{F2437C52-010C-4EBF-BBCE-0E50591FB98A}"/>
          </ac:spMkLst>
        </pc:spChg>
        <pc:spChg chg="mod">
          <ac:chgData name="Aurelien Domont" userId="6da7715ce44349b3" providerId="LiveId" clId="{484DD64F-11B8-41CE-8137-F22080D59C6C}" dt="2021-07-22T07:36:44.201" v="618" actId="1038"/>
          <ac:spMkLst>
            <pc:docMk/>
            <pc:sldMk cId="937669423" sldId="2198"/>
            <ac:spMk id="22" creationId="{56D41D08-58DE-4B01-AFB6-B3B5DA2F554F}"/>
          </ac:spMkLst>
        </pc:spChg>
        <pc:spChg chg="mod">
          <ac:chgData name="Aurelien Domont" userId="6da7715ce44349b3" providerId="LiveId" clId="{484DD64F-11B8-41CE-8137-F22080D59C6C}" dt="2021-07-22T07:36:44.201" v="618" actId="1038"/>
          <ac:spMkLst>
            <pc:docMk/>
            <pc:sldMk cId="937669423" sldId="2198"/>
            <ac:spMk id="23" creationId="{EA6679B0-9960-4EF1-8A84-788EE5B4064E}"/>
          </ac:spMkLst>
        </pc:spChg>
        <pc:spChg chg="mod">
          <ac:chgData name="Aurelien Domont" userId="6da7715ce44349b3" providerId="LiveId" clId="{484DD64F-11B8-41CE-8137-F22080D59C6C}" dt="2021-07-22T07:36:44.201" v="618" actId="1038"/>
          <ac:spMkLst>
            <pc:docMk/>
            <pc:sldMk cId="937669423" sldId="2198"/>
            <ac:spMk id="24" creationId="{267A9F5F-6FAE-4790-85DC-D47AE16B0E9F}"/>
          </ac:spMkLst>
        </pc:spChg>
        <pc:spChg chg="mod">
          <ac:chgData name="Aurelien Domont" userId="6da7715ce44349b3" providerId="LiveId" clId="{484DD64F-11B8-41CE-8137-F22080D59C6C}" dt="2021-07-22T07:36:44.201" v="618" actId="1038"/>
          <ac:spMkLst>
            <pc:docMk/>
            <pc:sldMk cId="937669423" sldId="2198"/>
            <ac:spMk id="25" creationId="{CC7E98FA-3E5D-4DCC-9070-63922C461F93}"/>
          </ac:spMkLst>
        </pc:spChg>
        <pc:spChg chg="mod">
          <ac:chgData name="Aurelien Domont" userId="6da7715ce44349b3" providerId="LiveId" clId="{484DD64F-11B8-41CE-8137-F22080D59C6C}" dt="2021-07-22T07:36:44.201" v="618" actId="1038"/>
          <ac:spMkLst>
            <pc:docMk/>
            <pc:sldMk cId="937669423" sldId="2198"/>
            <ac:spMk id="26" creationId="{C7991C61-A51D-4A0F-91E9-FC63D6829799}"/>
          </ac:spMkLst>
        </pc:spChg>
        <pc:spChg chg="mod">
          <ac:chgData name="Aurelien Domont" userId="6da7715ce44349b3" providerId="LiveId" clId="{484DD64F-11B8-41CE-8137-F22080D59C6C}" dt="2021-07-22T07:36:44.201" v="618" actId="1038"/>
          <ac:spMkLst>
            <pc:docMk/>
            <pc:sldMk cId="937669423" sldId="2198"/>
            <ac:spMk id="27" creationId="{69E83687-111F-4C8F-82F8-1100A830A799}"/>
          </ac:spMkLst>
        </pc:spChg>
        <pc:spChg chg="mod">
          <ac:chgData name="Aurelien Domont" userId="6da7715ce44349b3" providerId="LiveId" clId="{484DD64F-11B8-41CE-8137-F22080D59C6C}" dt="2021-07-22T07:36:44.201" v="618" actId="1038"/>
          <ac:spMkLst>
            <pc:docMk/>
            <pc:sldMk cId="937669423" sldId="2198"/>
            <ac:spMk id="28" creationId="{3BB8DC63-D8AC-44B7-AD6B-3344E0157ED9}"/>
          </ac:spMkLst>
        </pc:spChg>
        <pc:spChg chg="mod">
          <ac:chgData name="Aurelien Domont" userId="6da7715ce44349b3" providerId="LiveId" clId="{484DD64F-11B8-41CE-8137-F22080D59C6C}" dt="2021-07-22T07:36:44.201" v="618" actId="1038"/>
          <ac:spMkLst>
            <pc:docMk/>
            <pc:sldMk cId="937669423" sldId="2198"/>
            <ac:spMk id="29" creationId="{3FAD4126-4F73-43D3-8CAA-EDADF7C21270}"/>
          </ac:spMkLst>
        </pc:spChg>
        <pc:spChg chg="mod">
          <ac:chgData name="Aurelien Domont" userId="6da7715ce44349b3" providerId="LiveId" clId="{484DD64F-11B8-41CE-8137-F22080D59C6C}" dt="2021-07-22T07:36:44.201" v="618" actId="1038"/>
          <ac:spMkLst>
            <pc:docMk/>
            <pc:sldMk cId="937669423" sldId="2198"/>
            <ac:spMk id="30" creationId="{DF3BA851-E92A-44AA-8DFF-1F3C447EF430}"/>
          </ac:spMkLst>
        </pc:spChg>
      </pc:sldChg>
      <pc:sldChg chg="modSp add del mod ord">
        <pc:chgData name="Aurelien Domont" userId="6da7715ce44349b3" providerId="LiveId" clId="{484DD64F-11B8-41CE-8137-F22080D59C6C}" dt="2021-07-23T04:10:12.382" v="840" actId="47"/>
        <pc:sldMkLst>
          <pc:docMk/>
          <pc:sldMk cId="3807262441" sldId="2199"/>
        </pc:sldMkLst>
        <pc:spChg chg="mod">
          <ac:chgData name="Aurelien Domont" userId="6da7715ce44349b3" providerId="LiveId" clId="{484DD64F-11B8-41CE-8137-F22080D59C6C}" dt="2021-07-22T07:34:16.098" v="571" actId="20577"/>
          <ac:spMkLst>
            <pc:docMk/>
            <pc:sldMk cId="3807262441" sldId="2199"/>
            <ac:spMk id="2" creationId="{49C9F90D-3606-495B-9201-34A27BF7A42D}"/>
          </ac:spMkLst>
        </pc:spChg>
        <pc:spChg chg="mod">
          <ac:chgData name="Aurelien Domont" userId="6da7715ce44349b3" providerId="LiveId" clId="{484DD64F-11B8-41CE-8137-F22080D59C6C}" dt="2021-07-22T07:35:00.351" v="575" actId="14100"/>
          <ac:spMkLst>
            <pc:docMk/>
            <pc:sldMk cId="3807262441" sldId="2199"/>
            <ac:spMk id="3" creationId="{99E3DBA2-B4B6-4ECE-8106-2DABAA5319D4}"/>
          </ac:spMkLst>
        </pc:spChg>
        <pc:spChg chg="mod">
          <ac:chgData name="Aurelien Domont" userId="6da7715ce44349b3" providerId="LiveId" clId="{484DD64F-11B8-41CE-8137-F22080D59C6C}" dt="2021-07-22T07:34:54.780" v="574" actId="14100"/>
          <ac:spMkLst>
            <pc:docMk/>
            <pc:sldMk cId="3807262441" sldId="2199"/>
            <ac:spMk id="4" creationId="{9818C474-CA77-4548-9E08-86666461ED54}"/>
          </ac:spMkLst>
        </pc:spChg>
        <pc:spChg chg="mod">
          <ac:chgData name="Aurelien Domont" userId="6da7715ce44349b3" providerId="LiveId" clId="{484DD64F-11B8-41CE-8137-F22080D59C6C}" dt="2021-07-22T07:29:36.112" v="566" actId="404"/>
          <ac:spMkLst>
            <pc:docMk/>
            <pc:sldMk cId="3807262441" sldId="2199"/>
            <ac:spMk id="10" creationId="{F6F130AE-016B-49E7-B056-02422308B35C}"/>
          </ac:spMkLst>
        </pc:spChg>
        <pc:spChg chg="mod">
          <ac:chgData name="Aurelien Domont" userId="6da7715ce44349b3" providerId="LiveId" clId="{484DD64F-11B8-41CE-8137-F22080D59C6C}" dt="2021-07-22T07:29:36.112" v="566" actId="404"/>
          <ac:spMkLst>
            <pc:docMk/>
            <pc:sldMk cId="3807262441" sldId="2199"/>
            <ac:spMk id="11" creationId="{381FC75F-03AC-4E06-95A5-77AA464D139B}"/>
          </ac:spMkLst>
        </pc:spChg>
        <pc:spChg chg="mod">
          <ac:chgData name="Aurelien Domont" userId="6da7715ce44349b3" providerId="LiveId" clId="{484DD64F-11B8-41CE-8137-F22080D59C6C}" dt="2021-07-22T07:29:36.112" v="566" actId="404"/>
          <ac:spMkLst>
            <pc:docMk/>
            <pc:sldMk cId="3807262441" sldId="2199"/>
            <ac:spMk id="12" creationId="{F22BF9F2-93B5-4D57-85D0-BA4BB3074ECE}"/>
          </ac:spMkLst>
        </pc:spChg>
        <pc:spChg chg="mod">
          <ac:chgData name="Aurelien Domont" userId="6da7715ce44349b3" providerId="LiveId" clId="{484DD64F-11B8-41CE-8137-F22080D59C6C}" dt="2021-07-22T07:29:27.866" v="565" actId="207"/>
          <ac:spMkLst>
            <pc:docMk/>
            <pc:sldMk cId="3807262441" sldId="2199"/>
            <ac:spMk id="15" creationId="{68E4A892-C126-4C2F-927C-D44F69692245}"/>
          </ac:spMkLst>
        </pc:spChg>
        <pc:spChg chg="mod">
          <ac:chgData name="Aurelien Domont" userId="6da7715ce44349b3" providerId="LiveId" clId="{484DD64F-11B8-41CE-8137-F22080D59C6C}" dt="2021-07-22T07:35:43.108" v="576" actId="20577"/>
          <ac:spMkLst>
            <pc:docMk/>
            <pc:sldMk cId="3807262441" sldId="2199"/>
            <ac:spMk id="16" creationId="{6C2BB713-9637-4B9B-938F-E9768876782A}"/>
          </ac:spMkLst>
        </pc:spChg>
        <pc:spChg chg="mod">
          <ac:chgData name="Aurelien Domont" userId="6da7715ce44349b3" providerId="LiveId" clId="{484DD64F-11B8-41CE-8137-F22080D59C6C}" dt="2021-07-22T07:36:12.982" v="613" actId="20577"/>
          <ac:spMkLst>
            <pc:docMk/>
            <pc:sldMk cId="3807262441" sldId="2199"/>
            <ac:spMk id="18" creationId="{EE925BBA-D2EB-4000-BDB6-05D95DDF45F3}"/>
          </ac:spMkLst>
        </pc:spChg>
        <pc:spChg chg="mod">
          <ac:chgData name="Aurelien Domont" userId="6da7715ce44349b3" providerId="LiveId" clId="{484DD64F-11B8-41CE-8137-F22080D59C6C}" dt="2021-07-22T07:34:18.463" v="572" actId="20577"/>
          <ac:spMkLst>
            <pc:docMk/>
            <pc:sldMk cId="3807262441" sldId="2199"/>
            <ac:spMk id="24" creationId="{267A9F5F-6FAE-4790-85DC-D47AE16B0E9F}"/>
          </ac:spMkLst>
        </pc:spChg>
      </pc:sldChg>
      <pc:sldChg chg="addSp delSp modSp add mod">
        <pc:chgData name="Aurelien Domont" userId="6da7715ce44349b3" providerId="LiveId" clId="{484DD64F-11B8-41CE-8137-F22080D59C6C}" dt="2021-07-23T05:48:29.900" v="1744" actId="478"/>
        <pc:sldMkLst>
          <pc:docMk/>
          <pc:sldMk cId="1270591852" sldId="2200"/>
        </pc:sldMkLst>
        <pc:spChg chg="mod">
          <ac:chgData name="Aurelien Domont" userId="6da7715ce44349b3" providerId="LiveId" clId="{484DD64F-11B8-41CE-8137-F22080D59C6C}" dt="2021-07-23T04:31:17.309" v="1074" actId="3064"/>
          <ac:spMkLst>
            <pc:docMk/>
            <pc:sldMk cId="1270591852" sldId="2200"/>
            <ac:spMk id="2" creationId="{49C9F90D-3606-495B-9201-34A27BF7A42D}"/>
          </ac:spMkLst>
        </pc:spChg>
        <pc:spChg chg="mod">
          <ac:chgData name="Aurelien Domont" userId="6da7715ce44349b3" providerId="LiveId" clId="{484DD64F-11B8-41CE-8137-F22080D59C6C}" dt="2021-07-23T04:28:47.730" v="1009" actId="14100"/>
          <ac:spMkLst>
            <pc:docMk/>
            <pc:sldMk cId="1270591852" sldId="2200"/>
            <ac:spMk id="3" creationId="{99E3DBA2-B4B6-4ECE-8106-2DABAA5319D4}"/>
          </ac:spMkLst>
        </pc:spChg>
        <pc:spChg chg="add del mod">
          <ac:chgData name="Aurelien Domont" userId="6da7715ce44349b3" providerId="LiveId" clId="{484DD64F-11B8-41CE-8137-F22080D59C6C}" dt="2021-07-23T05:48:29.900" v="1744" actId="478"/>
          <ac:spMkLst>
            <pc:docMk/>
            <pc:sldMk cId="1270591852" sldId="2200"/>
            <ac:spMk id="4" creationId="{3E503C6A-4269-4CF1-A0DB-28E1AB7DA9FD}"/>
          </ac:spMkLst>
        </pc:spChg>
        <pc:spChg chg="mod">
          <ac:chgData name="Aurelien Domont" userId="6da7715ce44349b3" providerId="LiveId" clId="{484DD64F-11B8-41CE-8137-F22080D59C6C}" dt="2021-07-22T07:52:07.983" v="818" actId="14100"/>
          <ac:spMkLst>
            <pc:docMk/>
            <pc:sldMk cId="1270591852" sldId="2200"/>
            <ac:spMk id="6" creationId="{80C2FA24-C3FF-4F99-8694-BA262AB8070A}"/>
          </ac:spMkLst>
        </pc:spChg>
        <pc:spChg chg="mod">
          <ac:chgData name="Aurelien Domont" userId="6da7715ce44349b3" providerId="LiveId" clId="{484DD64F-11B8-41CE-8137-F22080D59C6C}" dt="2021-07-22T07:52:07.983" v="818" actId="14100"/>
          <ac:spMkLst>
            <pc:docMk/>
            <pc:sldMk cId="1270591852" sldId="2200"/>
            <ac:spMk id="7" creationId="{AA474FA7-23F8-48D3-A4A1-46C7E7EF8CBF}"/>
          </ac:spMkLst>
        </pc:spChg>
        <pc:spChg chg="mod">
          <ac:chgData name="Aurelien Domont" userId="6da7715ce44349b3" providerId="LiveId" clId="{484DD64F-11B8-41CE-8137-F22080D59C6C}" dt="2021-07-22T07:52:07.983" v="818" actId="14100"/>
          <ac:spMkLst>
            <pc:docMk/>
            <pc:sldMk cId="1270591852" sldId="2200"/>
            <ac:spMk id="8" creationId="{44D82846-5412-4854-9CE9-6BD4A4D3F201}"/>
          </ac:spMkLst>
        </pc:spChg>
        <pc:spChg chg="mod">
          <ac:chgData name="Aurelien Domont" userId="6da7715ce44349b3" providerId="LiveId" clId="{484DD64F-11B8-41CE-8137-F22080D59C6C}" dt="2021-07-22T07:47:21.228" v="756" actId="1035"/>
          <ac:spMkLst>
            <pc:docMk/>
            <pc:sldMk cId="1270591852" sldId="2200"/>
            <ac:spMk id="10" creationId="{F6F130AE-016B-49E7-B056-02422308B35C}"/>
          </ac:spMkLst>
        </pc:spChg>
        <pc:spChg chg="mod">
          <ac:chgData name="Aurelien Domont" userId="6da7715ce44349b3" providerId="LiveId" clId="{484DD64F-11B8-41CE-8137-F22080D59C6C}" dt="2021-07-22T07:47:21.228" v="756" actId="1035"/>
          <ac:spMkLst>
            <pc:docMk/>
            <pc:sldMk cId="1270591852" sldId="2200"/>
            <ac:spMk id="11" creationId="{381FC75F-03AC-4E06-95A5-77AA464D139B}"/>
          </ac:spMkLst>
        </pc:spChg>
        <pc:spChg chg="mod">
          <ac:chgData name="Aurelien Domont" userId="6da7715ce44349b3" providerId="LiveId" clId="{484DD64F-11B8-41CE-8137-F22080D59C6C}" dt="2021-07-22T07:47:21.228" v="756" actId="1035"/>
          <ac:spMkLst>
            <pc:docMk/>
            <pc:sldMk cId="1270591852" sldId="2200"/>
            <ac:spMk id="12" creationId="{F22BF9F2-93B5-4D57-85D0-BA4BB3074ECE}"/>
          </ac:spMkLst>
        </pc:spChg>
        <pc:spChg chg="del">
          <ac:chgData name="Aurelien Domont" userId="6da7715ce44349b3" providerId="LiveId" clId="{484DD64F-11B8-41CE-8137-F22080D59C6C}" dt="2021-07-22T07:46:21.269" v="700" actId="478"/>
          <ac:spMkLst>
            <pc:docMk/>
            <pc:sldMk cId="1270591852" sldId="2200"/>
            <ac:spMk id="15" creationId="{68E4A892-C126-4C2F-927C-D44F69692245}"/>
          </ac:spMkLst>
        </pc:spChg>
        <pc:spChg chg="mod">
          <ac:chgData name="Aurelien Domont" userId="6da7715ce44349b3" providerId="LiveId" clId="{484DD64F-11B8-41CE-8137-F22080D59C6C}" dt="2021-07-23T04:25:56.121" v="1004" actId="20577"/>
          <ac:spMkLst>
            <pc:docMk/>
            <pc:sldMk cId="1270591852" sldId="2200"/>
            <ac:spMk id="16" creationId="{6C2BB713-9637-4B9B-938F-E9768876782A}"/>
          </ac:spMkLst>
        </pc:spChg>
        <pc:spChg chg="mod">
          <ac:chgData name="Aurelien Domont" userId="6da7715ce44349b3" providerId="LiveId" clId="{484DD64F-11B8-41CE-8137-F22080D59C6C}" dt="2021-07-23T04:31:17.309" v="1074" actId="3064"/>
          <ac:spMkLst>
            <pc:docMk/>
            <pc:sldMk cId="1270591852" sldId="2200"/>
            <ac:spMk id="18" creationId="{EE925BBA-D2EB-4000-BDB6-05D95DDF45F3}"/>
          </ac:spMkLst>
        </pc:spChg>
        <pc:spChg chg="mod">
          <ac:chgData name="Aurelien Domont" userId="6da7715ce44349b3" providerId="LiveId" clId="{484DD64F-11B8-41CE-8137-F22080D59C6C}" dt="2021-07-23T04:31:55.566" v="1082" actId="20577"/>
          <ac:spMkLst>
            <pc:docMk/>
            <pc:sldMk cId="1270591852" sldId="2200"/>
            <ac:spMk id="19" creationId="{D5B94190-586B-4762-8F62-7C91D7F01CE4}"/>
          </ac:spMkLst>
        </pc:spChg>
        <pc:spChg chg="mod">
          <ac:chgData name="Aurelien Domont" userId="6da7715ce44349b3" providerId="LiveId" clId="{484DD64F-11B8-41CE-8137-F22080D59C6C}" dt="2021-07-23T04:31:46.625" v="1079" actId="20577"/>
          <ac:spMkLst>
            <pc:docMk/>
            <pc:sldMk cId="1270591852" sldId="2200"/>
            <ac:spMk id="20" creationId="{8FB4C652-E152-4F9D-88FB-38C464AB1EF2}"/>
          </ac:spMkLst>
        </pc:spChg>
        <pc:spChg chg="mod">
          <ac:chgData name="Aurelien Domont" userId="6da7715ce44349b3" providerId="LiveId" clId="{484DD64F-11B8-41CE-8137-F22080D59C6C}" dt="2021-07-23T04:32:08.493" v="1087" actId="20577"/>
          <ac:spMkLst>
            <pc:docMk/>
            <pc:sldMk cId="1270591852" sldId="2200"/>
            <ac:spMk id="21" creationId="{F2437C52-010C-4EBF-BBCE-0E50591FB98A}"/>
          </ac:spMkLst>
        </pc:spChg>
        <pc:spChg chg="mod">
          <ac:chgData name="Aurelien Domont" userId="6da7715ce44349b3" providerId="LiveId" clId="{484DD64F-11B8-41CE-8137-F22080D59C6C}" dt="2021-07-23T04:32:16.551" v="1091" actId="20577"/>
          <ac:spMkLst>
            <pc:docMk/>
            <pc:sldMk cId="1270591852" sldId="2200"/>
            <ac:spMk id="22" creationId="{56D41D08-58DE-4B01-AFB6-B3B5DA2F554F}"/>
          </ac:spMkLst>
        </pc:spChg>
        <pc:spChg chg="mod">
          <ac:chgData name="Aurelien Domont" userId="6da7715ce44349b3" providerId="LiveId" clId="{484DD64F-11B8-41CE-8137-F22080D59C6C}" dt="2021-07-23T05:30:10.511" v="1730" actId="21"/>
          <ac:spMkLst>
            <pc:docMk/>
            <pc:sldMk cId="1270591852" sldId="2200"/>
            <ac:spMk id="23" creationId="{EA6679B0-9960-4EF1-8A84-788EE5B4064E}"/>
          </ac:spMkLst>
        </pc:spChg>
        <pc:spChg chg="mod">
          <ac:chgData name="Aurelien Domont" userId="6da7715ce44349b3" providerId="LiveId" clId="{484DD64F-11B8-41CE-8137-F22080D59C6C}" dt="2021-07-23T04:35:25.717" v="1126" actId="20577"/>
          <ac:spMkLst>
            <pc:docMk/>
            <pc:sldMk cId="1270591852" sldId="2200"/>
            <ac:spMk id="24" creationId="{267A9F5F-6FAE-4790-85DC-D47AE16B0E9F}"/>
          </ac:spMkLst>
        </pc:spChg>
        <pc:spChg chg="mod">
          <ac:chgData name="Aurelien Domont" userId="6da7715ce44349b3" providerId="LiveId" clId="{484DD64F-11B8-41CE-8137-F22080D59C6C}" dt="2021-07-23T04:35:28.599" v="1129" actId="20577"/>
          <ac:spMkLst>
            <pc:docMk/>
            <pc:sldMk cId="1270591852" sldId="2200"/>
            <ac:spMk id="25" creationId="{CC7E98FA-3E5D-4DCC-9070-63922C461F93}"/>
          </ac:spMkLst>
        </pc:spChg>
        <pc:spChg chg="mod">
          <ac:chgData name="Aurelien Domont" userId="6da7715ce44349b3" providerId="LiveId" clId="{484DD64F-11B8-41CE-8137-F22080D59C6C}" dt="2021-07-23T04:36:27.008" v="1133" actId="20577"/>
          <ac:spMkLst>
            <pc:docMk/>
            <pc:sldMk cId="1270591852" sldId="2200"/>
            <ac:spMk id="26" creationId="{C7991C61-A51D-4A0F-91E9-FC63D6829799}"/>
          </ac:spMkLst>
        </pc:spChg>
        <pc:spChg chg="mod">
          <ac:chgData name="Aurelien Domont" userId="6da7715ce44349b3" providerId="LiveId" clId="{484DD64F-11B8-41CE-8137-F22080D59C6C}" dt="2021-07-23T04:36:33.914" v="1137" actId="20577"/>
          <ac:spMkLst>
            <pc:docMk/>
            <pc:sldMk cId="1270591852" sldId="2200"/>
            <ac:spMk id="27" creationId="{69E83687-111F-4C8F-82F8-1100A830A799}"/>
          </ac:spMkLst>
        </pc:spChg>
        <pc:spChg chg="mod">
          <ac:chgData name="Aurelien Domont" userId="6da7715ce44349b3" providerId="LiveId" clId="{484DD64F-11B8-41CE-8137-F22080D59C6C}" dt="2021-07-23T05:30:12.581" v="1731"/>
          <ac:spMkLst>
            <pc:docMk/>
            <pc:sldMk cId="1270591852" sldId="2200"/>
            <ac:spMk id="28" creationId="{3BB8DC63-D8AC-44B7-AD6B-3344E0157ED9}"/>
          </ac:spMkLst>
        </pc:spChg>
        <pc:spChg chg="mod">
          <ac:chgData name="Aurelien Domont" userId="6da7715ce44349b3" providerId="LiveId" clId="{484DD64F-11B8-41CE-8137-F22080D59C6C}" dt="2021-07-23T04:36:42.717" v="1145" actId="20577"/>
          <ac:spMkLst>
            <pc:docMk/>
            <pc:sldMk cId="1270591852" sldId="2200"/>
            <ac:spMk id="29" creationId="{3FAD4126-4F73-43D3-8CAA-EDADF7C21270}"/>
          </ac:spMkLst>
        </pc:spChg>
        <pc:spChg chg="mod">
          <ac:chgData name="Aurelien Domont" userId="6da7715ce44349b3" providerId="LiveId" clId="{484DD64F-11B8-41CE-8137-F22080D59C6C}" dt="2021-07-23T04:36:45.715" v="1149" actId="20577"/>
          <ac:spMkLst>
            <pc:docMk/>
            <pc:sldMk cId="1270591852" sldId="2200"/>
            <ac:spMk id="30" creationId="{DF3BA851-E92A-44AA-8DFF-1F3C447EF430}"/>
          </ac:spMkLst>
        </pc:spChg>
        <pc:spChg chg="add del mod">
          <ac:chgData name="Aurelien Domont" userId="6da7715ce44349b3" providerId="LiveId" clId="{484DD64F-11B8-41CE-8137-F22080D59C6C}" dt="2021-07-22T07:38:22.846" v="635" actId="478"/>
          <ac:spMkLst>
            <pc:docMk/>
            <pc:sldMk cId="1270591852" sldId="2200"/>
            <ac:spMk id="31" creationId="{97F9FE67-9C47-4B55-AD4A-B0AB8455E990}"/>
          </ac:spMkLst>
        </pc:spChg>
        <pc:spChg chg="add del mod">
          <ac:chgData name="Aurelien Domont" userId="6da7715ce44349b3" providerId="LiveId" clId="{484DD64F-11B8-41CE-8137-F22080D59C6C}" dt="2021-07-22T07:38:22.846" v="635" actId="478"/>
          <ac:spMkLst>
            <pc:docMk/>
            <pc:sldMk cId="1270591852" sldId="2200"/>
            <ac:spMk id="32" creationId="{CB20BCCA-2F6E-4154-BDE5-0C3015D91A8F}"/>
          </ac:spMkLst>
        </pc:spChg>
        <pc:spChg chg="add del mod">
          <ac:chgData name="Aurelien Domont" userId="6da7715ce44349b3" providerId="LiveId" clId="{484DD64F-11B8-41CE-8137-F22080D59C6C}" dt="2021-07-22T07:38:22.846" v="635" actId="478"/>
          <ac:spMkLst>
            <pc:docMk/>
            <pc:sldMk cId="1270591852" sldId="2200"/>
            <ac:spMk id="33" creationId="{9B65B6C3-BF03-4BCA-8081-1FFB8185482B}"/>
          </ac:spMkLst>
        </pc:spChg>
        <pc:spChg chg="add mod">
          <ac:chgData name="Aurelien Domont" userId="6da7715ce44349b3" providerId="LiveId" clId="{484DD64F-11B8-41CE-8137-F22080D59C6C}" dt="2021-07-23T04:36:49.311" v="1153" actId="20577"/>
          <ac:spMkLst>
            <pc:docMk/>
            <pc:sldMk cId="1270591852" sldId="2200"/>
            <ac:spMk id="34" creationId="{13F1F2DD-4116-4862-8881-78AA3F95608B}"/>
          </ac:spMkLst>
        </pc:spChg>
        <pc:spChg chg="add mod">
          <ac:chgData name="Aurelien Domont" userId="6da7715ce44349b3" providerId="LiveId" clId="{484DD64F-11B8-41CE-8137-F22080D59C6C}" dt="2021-07-23T04:36:52.935" v="1157" actId="20577"/>
          <ac:spMkLst>
            <pc:docMk/>
            <pc:sldMk cId="1270591852" sldId="2200"/>
            <ac:spMk id="35" creationId="{F9F4BBF8-73BF-4F2E-AF32-69593639E058}"/>
          </ac:spMkLst>
        </pc:spChg>
        <pc:spChg chg="add mod">
          <ac:chgData name="Aurelien Domont" userId="6da7715ce44349b3" providerId="LiveId" clId="{484DD64F-11B8-41CE-8137-F22080D59C6C}" dt="2021-07-23T04:36:55.848" v="1161" actId="20577"/>
          <ac:spMkLst>
            <pc:docMk/>
            <pc:sldMk cId="1270591852" sldId="2200"/>
            <ac:spMk id="36" creationId="{BB85C512-FA88-4677-B0BC-9D00764DE8C6}"/>
          </ac:spMkLst>
        </pc:spChg>
        <pc:spChg chg="add mod">
          <ac:chgData name="Aurelien Domont" userId="6da7715ce44349b3" providerId="LiveId" clId="{484DD64F-11B8-41CE-8137-F22080D59C6C}" dt="2021-07-23T04:36:58.876" v="1165" actId="20577"/>
          <ac:spMkLst>
            <pc:docMk/>
            <pc:sldMk cId="1270591852" sldId="2200"/>
            <ac:spMk id="37" creationId="{228E0722-FA6E-48B5-9F62-549DFD0E5B38}"/>
          </ac:spMkLst>
        </pc:spChg>
        <pc:spChg chg="add mod">
          <ac:chgData name="Aurelien Domont" userId="6da7715ce44349b3" providerId="LiveId" clId="{484DD64F-11B8-41CE-8137-F22080D59C6C}" dt="2021-07-23T04:37:01.951" v="1169" actId="20577"/>
          <ac:spMkLst>
            <pc:docMk/>
            <pc:sldMk cId="1270591852" sldId="2200"/>
            <ac:spMk id="38" creationId="{0E15D843-821D-496E-9A06-D6C6FAAC07FF}"/>
          </ac:spMkLst>
        </pc:spChg>
        <pc:spChg chg="add mod">
          <ac:chgData name="Aurelien Domont" userId="6da7715ce44349b3" providerId="LiveId" clId="{484DD64F-11B8-41CE-8137-F22080D59C6C}" dt="2021-07-23T04:37:04.961" v="1173" actId="20577"/>
          <ac:spMkLst>
            <pc:docMk/>
            <pc:sldMk cId="1270591852" sldId="2200"/>
            <ac:spMk id="39" creationId="{A571E059-9603-41C6-ABD0-AD8036E2B8EB}"/>
          </ac:spMkLst>
        </pc:spChg>
        <pc:spChg chg="add mod">
          <ac:chgData name="Aurelien Domont" userId="6da7715ce44349b3" providerId="LiveId" clId="{484DD64F-11B8-41CE-8137-F22080D59C6C}" dt="2021-07-23T04:37:08.067" v="1177" actId="20577"/>
          <ac:spMkLst>
            <pc:docMk/>
            <pc:sldMk cId="1270591852" sldId="2200"/>
            <ac:spMk id="40" creationId="{8C4BB92A-74BF-4E3E-8E05-643E31EB0035}"/>
          </ac:spMkLst>
        </pc:spChg>
        <pc:spChg chg="add del mod">
          <ac:chgData name="Aurelien Domont" userId="6da7715ce44349b3" providerId="LiveId" clId="{484DD64F-11B8-41CE-8137-F22080D59C6C}" dt="2021-07-23T04:35:19.167" v="1123" actId="478"/>
          <ac:spMkLst>
            <pc:docMk/>
            <pc:sldMk cId="1270591852" sldId="2200"/>
            <ac:spMk id="41" creationId="{0BAF8EC9-714C-48FD-8BBC-828488DE1DB7}"/>
          </ac:spMkLst>
        </pc:spChg>
        <pc:spChg chg="add del mod">
          <ac:chgData name="Aurelien Domont" userId="6da7715ce44349b3" providerId="LiveId" clId="{484DD64F-11B8-41CE-8137-F22080D59C6C}" dt="2021-07-23T04:35:19.167" v="1123" actId="478"/>
          <ac:spMkLst>
            <pc:docMk/>
            <pc:sldMk cId="1270591852" sldId="2200"/>
            <ac:spMk id="42" creationId="{152A9542-D637-45C1-B366-32701F05B6FF}"/>
          </ac:spMkLst>
        </pc:spChg>
        <pc:spChg chg="add del mod">
          <ac:chgData name="Aurelien Domont" userId="6da7715ce44349b3" providerId="LiveId" clId="{484DD64F-11B8-41CE-8137-F22080D59C6C}" dt="2021-07-23T04:35:19.167" v="1123" actId="478"/>
          <ac:spMkLst>
            <pc:docMk/>
            <pc:sldMk cId="1270591852" sldId="2200"/>
            <ac:spMk id="43" creationId="{63033AA8-E42E-4DD3-ADCE-A1AA68F7AB6E}"/>
          </ac:spMkLst>
        </pc:spChg>
        <pc:spChg chg="add del mod">
          <ac:chgData name="Aurelien Domont" userId="6da7715ce44349b3" providerId="LiveId" clId="{484DD64F-11B8-41CE-8137-F22080D59C6C}" dt="2021-07-23T04:35:19.167" v="1123" actId="478"/>
          <ac:spMkLst>
            <pc:docMk/>
            <pc:sldMk cId="1270591852" sldId="2200"/>
            <ac:spMk id="44" creationId="{361642A1-1B0A-4FAE-8D4B-5F07DAF8AB08}"/>
          </ac:spMkLst>
        </pc:spChg>
        <pc:spChg chg="add del mod">
          <ac:chgData name="Aurelien Domont" userId="6da7715ce44349b3" providerId="LiveId" clId="{484DD64F-11B8-41CE-8137-F22080D59C6C}" dt="2021-07-23T04:35:19.167" v="1123" actId="478"/>
          <ac:spMkLst>
            <pc:docMk/>
            <pc:sldMk cId="1270591852" sldId="2200"/>
            <ac:spMk id="45" creationId="{CDE6D7C5-3DEF-46DE-B0BF-0DC7E6864E17}"/>
          </ac:spMkLst>
        </pc:spChg>
        <pc:spChg chg="add del mod">
          <ac:chgData name="Aurelien Domont" userId="6da7715ce44349b3" providerId="LiveId" clId="{484DD64F-11B8-41CE-8137-F22080D59C6C}" dt="2021-07-23T04:35:19.167" v="1123" actId="478"/>
          <ac:spMkLst>
            <pc:docMk/>
            <pc:sldMk cId="1270591852" sldId="2200"/>
            <ac:spMk id="46" creationId="{6CE42DEC-4C9C-4E25-8A07-6E706FA25464}"/>
          </ac:spMkLst>
        </pc:spChg>
        <pc:spChg chg="add del mod">
          <ac:chgData name="Aurelien Domont" userId="6da7715ce44349b3" providerId="LiveId" clId="{484DD64F-11B8-41CE-8137-F22080D59C6C}" dt="2021-07-23T04:35:19.167" v="1123" actId="478"/>
          <ac:spMkLst>
            <pc:docMk/>
            <pc:sldMk cId="1270591852" sldId="2200"/>
            <ac:spMk id="47" creationId="{63F00686-242C-435E-90AB-0CA11B5BEF5A}"/>
          </ac:spMkLst>
        </pc:spChg>
        <pc:spChg chg="add del mod">
          <ac:chgData name="Aurelien Domont" userId="6da7715ce44349b3" providerId="LiveId" clId="{484DD64F-11B8-41CE-8137-F22080D59C6C}" dt="2021-07-23T04:35:19.167" v="1123" actId="478"/>
          <ac:spMkLst>
            <pc:docMk/>
            <pc:sldMk cId="1270591852" sldId="2200"/>
            <ac:spMk id="48" creationId="{A8650F66-DFF3-44CA-A8A2-2BCBB1417839}"/>
          </ac:spMkLst>
        </pc:spChg>
        <pc:spChg chg="add del mod">
          <ac:chgData name="Aurelien Domont" userId="6da7715ce44349b3" providerId="LiveId" clId="{484DD64F-11B8-41CE-8137-F22080D59C6C}" dt="2021-07-23T04:35:19.167" v="1123" actId="478"/>
          <ac:spMkLst>
            <pc:docMk/>
            <pc:sldMk cId="1270591852" sldId="2200"/>
            <ac:spMk id="49" creationId="{6CAE3380-3133-47D4-B66F-18DD9AB5F3A1}"/>
          </ac:spMkLst>
        </pc:spChg>
        <pc:spChg chg="add del mod">
          <ac:chgData name="Aurelien Domont" userId="6da7715ce44349b3" providerId="LiveId" clId="{484DD64F-11B8-41CE-8137-F22080D59C6C}" dt="2021-07-23T04:35:19.167" v="1123" actId="478"/>
          <ac:spMkLst>
            <pc:docMk/>
            <pc:sldMk cId="1270591852" sldId="2200"/>
            <ac:spMk id="50" creationId="{107441CD-BDEE-4F3C-921E-0A6909999F36}"/>
          </ac:spMkLst>
        </pc:spChg>
        <pc:spChg chg="add del mod">
          <ac:chgData name="Aurelien Domont" userId="6da7715ce44349b3" providerId="LiveId" clId="{484DD64F-11B8-41CE-8137-F22080D59C6C}" dt="2021-07-23T04:35:19.167" v="1123" actId="478"/>
          <ac:spMkLst>
            <pc:docMk/>
            <pc:sldMk cId="1270591852" sldId="2200"/>
            <ac:spMk id="51" creationId="{EDA570C3-AE78-4DA8-927F-8637B27AF63D}"/>
          </ac:spMkLst>
        </pc:spChg>
        <pc:spChg chg="add del mod">
          <ac:chgData name="Aurelien Domont" userId="6da7715ce44349b3" providerId="LiveId" clId="{484DD64F-11B8-41CE-8137-F22080D59C6C}" dt="2021-07-23T04:35:19.167" v="1123" actId="478"/>
          <ac:spMkLst>
            <pc:docMk/>
            <pc:sldMk cId="1270591852" sldId="2200"/>
            <ac:spMk id="52" creationId="{D65C7AEF-BA06-4805-AF5B-7693EA48DC89}"/>
          </ac:spMkLst>
        </pc:spChg>
        <pc:spChg chg="add del mod">
          <ac:chgData name="Aurelien Domont" userId="6da7715ce44349b3" providerId="LiveId" clId="{484DD64F-11B8-41CE-8137-F22080D59C6C}" dt="2021-07-23T04:35:19.167" v="1123" actId="478"/>
          <ac:spMkLst>
            <pc:docMk/>
            <pc:sldMk cId="1270591852" sldId="2200"/>
            <ac:spMk id="53" creationId="{E1C2C0B1-B88D-4C2D-9C6C-2BBF6EE52A97}"/>
          </ac:spMkLst>
        </pc:spChg>
        <pc:spChg chg="add del mod">
          <ac:chgData name="Aurelien Domont" userId="6da7715ce44349b3" providerId="LiveId" clId="{484DD64F-11B8-41CE-8137-F22080D59C6C}" dt="2021-07-23T04:35:19.167" v="1123" actId="478"/>
          <ac:spMkLst>
            <pc:docMk/>
            <pc:sldMk cId="1270591852" sldId="2200"/>
            <ac:spMk id="54" creationId="{BA8B2A16-4B96-4950-B324-92D32B6FFC45}"/>
          </ac:spMkLst>
        </pc:spChg>
        <pc:spChg chg="add del mod">
          <ac:chgData name="Aurelien Domont" userId="6da7715ce44349b3" providerId="LiveId" clId="{484DD64F-11B8-41CE-8137-F22080D59C6C}" dt="2021-07-23T04:35:19.167" v="1123" actId="478"/>
          <ac:spMkLst>
            <pc:docMk/>
            <pc:sldMk cId="1270591852" sldId="2200"/>
            <ac:spMk id="55" creationId="{0BDDBA9E-9563-4424-96DC-A57CA32CFA15}"/>
          </ac:spMkLst>
        </pc:spChg>
        <pc:spChg chg="add del mod">
          <ac:chgData name="Aurelien Domont" userId="6da7715ce44349b3" providerId="LiveId" clId="{484DD64F-11B8-41CE-8137-F22080D59C6C}" dt="2021-07-23T04:35:19.167" v="1123" actId="478"/>
          <ac:spMkLst>
            <pc:docMk/>
            <pc:sldMk cId="1270591852" sldId="2200"/>
            <ac:spMk id="56" creationId="{6808562B-A660-46DC-9EAC-EA5731F2E377}"/>
          </ac:spMkLst>
        </pc:spChg>
        <pc:spChg chg="add del mod">
          <ac:chgData name="Aurelien Domont" userId="6da7715ce44349b3" providerId="LiveId" clId="{484DD64F-11B8-41CE-8137-F22080D59C6C}" dt="2021-07-23T04:35:19.167" v="1123" actId="478"/>
          <ac:spMkLst>
            <pc:docMk/>
            <pc:sldMk cId="1270591852" sldId="2200"/>
            <ac:spMk id="57" creationId="{EAA42727-8560-4C89-AD66-E5CC3048D5BB}"/>
          </ac:spMkLst>
        </pc:spChg>
        <pc:spChg chg="add del mod">
          <ac:chgData name="Aurelien Domont" userId="6da7715ce44349b3" providerId="LiveId" clId="{484DD64F-11B8-41CE-8137-F22080D59C6C}" dt="2021-07-23T04:35:19.167" v="1123" actId="478"/>
          <ac:spMkLst>
            <pc:docMk/>
            <pc:sldMk cId="1270591852" sldId="2200"/>
            <ac:spMk id="58" creationId="{610C5235-35F4-480B-9760-F9339AF648AD}"/>
          </ac:spMkLst>
        </pc:spChg>
        <pc:spChg chg="add del mod">
          <ac:chgData name="Aurelien Domont" userId="6da7715ce44349b3" providerId="LiveId" clId="{484DD64F-11B8-41CE-8137-F22080D59C6C}" dt="2021-07-23T04:35:19.167" v="1123" actId="478"/>
          <ac:spMkLst>
            <pc:docMk/>
            <pc:sldMk cId="1270591852" sldId="2200"/>
            <ac:spMk id="59" creationId="{2BBB7604-4D66-4494-9645-727F92BBAD3C}"/>
          </ac:spMkLst>
        </pc:spChg>
        <pc:spChg chg="add del mod">
          <ac:chgData name="Aurelien Domont" userId="6da7715ce44349b3" providerId="LiveId" clId="{484DD64F-11B8-41CE-8137-F22080D59C6C}" dt="2021-07-23T04:35:19.167" v="1123" actId="478"/>
          <ac:spMkLst>
            <pc:docMk/>
            <pc:sldMk cId="1270591852" sldId="2200"/>
            <ac:spMk id="60" creationId="{1AB1FA42-783A-4EA0-B89B-0EDE7CA2461B}"/>
          </ac:spMkLst>
        </pc:spChg>
        <pc:spChg chg="add del mod">
          <ac:chgData name="Aurelien Domont" userId="6da7715ce44349b3" providerId="LiveId" clId="{484DD64F-11B8-41CE-8137-F22080D59C6C}" dt="2021-07-23T04:35:19.167" v="1123" actId="478"/>
          <ac:spMkLst>
            <pc:docMk/>
            <pc:sldMk cId="1270591852" sldId="2200"/>
            <ac:spMk id="61" creationId="{90AA21D3-6AD7-4ED7-9233-B293BDA13F88}"/>
          </ac:spMkLst>
        </pc:spChg>
        <pc:cxnChg chg="mod">
          <ac:chgData name="Aurelien Domont" userId="6da7715ce44349b3" providerId="LiveId" clId="{484DD64F-11B8-41CE-8137-F22080D59C6C}" dt="2021-07-22T07:52:19.999" v="823" actId="1038"/>
          <ac:cxnSpMkLst>
            <pc:docMk/>
            <pc:sldMk cId="1270591852" sldId="2200"/>
            <ac:cxnSpMk id="9" creationId="{938E2F11-EEE6-4CE3-AA18-0A0EFEAFC83C}"/>
          </ac:cxnSpMkLst>
        </pc:cxnChg>
        <pc:cxnChg chg="mod">
          <ac:chgData name="Aurelien Domont" userId="6da7715ce44349b3" providerId="LiveId" clId="{484DD64F-11B8-41CE-8137-F22080D59C6C}" dt="2021-07-22T07:52:19.999" v="823" actId="1038"/>
          <ac:cxnSpMkLst>
            <pc:docMk/>
            <pc:sldMk cId="1270591852" sldId="2200"/>
            <ac:cxnSpMk id="14" creationId="{BD538E77-947C-4FAE-B4B2-3DD1EF8F7624}"/>
          </ac:cxnSpMkLst>
        </pc:cxnChg>
      </pc:sldChg>
      <pc:sldChg chg="addSp delSp modSp add mod">
        <pc:chgData name="Aurelien Domont" userId="6da7715ce44349b3" providerId="LiveId" clId="{484DD64F-11B8-41CE-8137-F22080D59C6C}" dt="2021-07-23T05:45:42.827" v="1735"/>
        <pc:sldMkLst>
          <pc:docMk/>
          <pc:sldMk cId="526020649" sldId="2201"/>
        </pc:sldMkLst>
        <pc:spChg chg="del">
          <ac:chgData name="Aurelien Domont" userId="6da7715ce44349b3" providerId="LiveId" clId="{484DD64F-11B8-41CE-8137-F22080D59C6C}" dt="2021-07-23T05:45:42.518" v="1734" actId="478"/>
          <ac:spMkLst>
            <pc:docMk/>
            <pc:sldMk cId="526020649" sldId="2201"/>
            <ac:spMk id="5" creationId="{3AA7B8AD-E6F9-4E25-A3A4-71D021032612}"/>
          </ac:spMkLst>
        </pc:spChg>
        <pc:spChg chg="mod">
          <ac:chgData name="Aurelien Domont" userId="6da7715ce44349b3" providerId="LiveId" clId="{484DD64F-11B8-41CE-8137-F22080D59C6C}" dt="2021-07-23T04:39:03.094" v="1224" actId="108"/>
          <ac:spMkLst>
            <pc:docMk/>
            <pc:sldMk cId="526020649" sldId="2201"/>
            <ac:spMk id="6" creationId="{80C2FA24-C3FF-4F99-8694-BA262AB8070A}"/>
          </ac:spMkLst>
        </pc:spChg>
        <pc:spChg chg="mod">
          <ac:chgData name="Aurelien Domont" userId="6da7715ce44349b3" providerId="LiveId" clId="{484DD64F-11B8-41CE-8137-F22080D59C6C}" dt="2021-07-23T04:38:32.839" v="1223" actId="20577"/>
          <ac:spMkLst>
            <pc:docMk/>
            <pc:sldMk cId="526020649" sldId="2201"/>
            <ac:spMk id="16" creationId="{6C2BB713-9637-4B9B-938F-E9768876782A}"/>
          </ac:spMkLst>
        </pc:spChg>
        <pc:spChg chg="del">
          <ac:chgData name="Aurelien Domont" userId="6da7715ce44349b3" providerId="LiveId" clId="{484DD64F-11B8-41CE-8137-F22080D59C6C}" dt="2021-07-23T05:45:42.518" v="1734" actId="478"/>
          <ac:spMkLst>
            <pc:docMk/>
            <pc:sldMk cId="526020649" sldId="2201"/>
            <ac:spMk id="21" creationId="{F2437C52-010C-4EBF-BBCE-0E50591FB98A}"/>
          </ac:spMkLst>
        </pc:spChg>
        <pc:spChg chg="del">
          <ac:chgData name="Aurelien Domont" userId="6da7715ce44349b3" providerId="LiveId" clId="{484DD64F-11B8-41CE-8137-F22080D59C6C}" dt="2021-07-23T05:45:42.518" v="1734" actId="478"/>
          <ac:spMkLst>
            <pc:docMk/>
            <pc:sldMk cId="526020649" sldId="2201"/>
            <ac:spMk id="22" creationId="{56D41D08-58DE-4B01-AFB6-B3B5DA2F554F}"/>
          </ac:spMkLst>
        </pc:spChg>
        <pc:spChg chg="del">
          <ac:chgData name="Aurelien Domont" userId="6da7715ce44349b3" providerId="LiveId" clId="{484DD64F-11B8-41CE-8137-F22080D59C6C}" dt="2021-07-23T05:45:42.518" v="1734" actId="478"/>
          <ac:spMkLst>
            <pc:docMk/>
            <pc:sldMk cId="526020649" sldId="2201"/>
            <ac:spMk id="23" creationId="{EA6679B0-9960-4EF1-8A84-788EE5B4064E}"/>
          </ac:spMkLst>
        </pc:spChg>
        <pc:spChg chg="del">
          <ac:chgData name="Aurelien Domont" userId="6da7715ce44349b3" providerId="LiveId" clId="{484DD64F-11B8-41CE-8137-F22080D59C6C}" dt="2021-07-23T05:45:42.518" v="1734" actId="478"/>
          <ac:spMkLst>
            <pc:docMk/>
            <pc:sldMk cId="526020649" sldId="2201"/>
            <ac:spMk id="28" creationId="{3BB8DC63-D8AC-44B7-AD6B-3344E0157ED9}"/>
          </ac:spMkLst>
        </pc:spChg>
        <pc:spChg chg="del">
          <ac:chgData name="Aurelien Domont" userId="6da7715ce44349b3" providerId="LiveId" clId="{484DD64F-11B8-41CE-8137-F22080D59C6C}" dt="2021-07-23T05:45:42.518" v="1734" actId="478"/>
          <ac:spMkLst>
            <pc:docMk/>
            <pc:sldMk cId="526020649" sldId="2201"/>
            <ac:spMk id="29" creationId="{3FAD4126-4F73-43D3-8CAA-EDADF7C21270}"/>
          </ac:spMkLst>
        </pc:spChg>
        <pc:spChg chg="del">
          <ac:chgData name="Aurelien Domont" userId="6da7715ce44349b3" providerId="LiveId" clId="{484DD64F-11B8-41CE-8137-F22080D59C6C}" dt="2021-07-23T05:45:42.518" v="1734" actId="478"/>
          <ac:spMkLst>
            <pc:docMk/>
            <pc:sldMk cId="526020649" sldId="2201"/>
            <ac:spMk id="30" creationId="{DF3BA851-E92A-44AA-8DFF-1F3C447EF430}"/>
          </ac:spMkLst>
        </pc:spChg>
        <pc:spChg chg="del">
          <ac:chgData name="Aurelien Domont" userId="6da7715ce44349b3" providerId="LiveId" clId="{484DD64F-11B8-41CE-8137-F22080D59C6C}" dt="2021-07-23T05:45:42.518" v="1734" actId="478"/>
          <ac:spMkLst>
            <pc:docMk/>
            <pc:sldMk cId="526020649" sldId="2201"/>
            <ac:spMk id="38" creationId="{0E15D843-821D-496E-9A06-D6C6FAAC07FF}"/>
          </ac:spMkLst>
        </pc:spChg>
        <pc:spChg chg="del">
          <ac:chgData name="Aurelien Domont" userId="6da7715ce44349b3" providerId="LiveId" clId="{484DD64F-11B8-41CE-8137-F22080D59C6C}" dt="2021-07-23T05:45:42.518" v="1734" actId="478"/>
          <ac:spMkLst>
            <pc:docMk/>
            <pc:sldMk cId="526020649" sldId="2201"/>
            <ac:spMk id="39" creationId="{A571E059-9603-41C6-ABD0-AD8036E2B8EB}"/>
          </ac:spMkLst>
        </pc:spChg>
        <pc:spChg chg="del">
          <ac:chgData name="Aurelien Domont" userId="6da7715ce44349b3" providerId="LiveId" clId="{484DD64F-11B8-41CE-8137-F22080D59C6C}" dt="2021-07-23T05:45:42.518" v="1734" actId="478"/>
          <ac:spMkLst>
            <pc:docMk/>
            <pc:sldMk cId="526020649" sldId="2201"/>
            <ac:spMk id="40" creationId="{8C4BB92A-74BF-4E3E-8E05-643E31EB0035}"/>
          </ac:spMkLst>
        </pc:spChg>
        <pc:spChg chg="add mod">
          <ac:chgData name="Aurelien Domont" userId="6da7715ce44349b3" providerId="LiveId" clId="{484DD64F-11B8-41CE-8137-F22080D59C6C}" dt="2021-07-23T05:45:42.827" v="1735"/>
          <ac:spMkLst>
            <pc:docMk/>
            <pc:sldMk cId="526020649" sldId="2201"/>
            <ac:spMk id="41" creationId="{2A6E4D7B-1C06-48E4-8F1A-6028D7C993AA}"/>
          </ac:spMkLst>
        </pc:spChg>
        <pc:spChg chg="add mod">
          <ac:chgData name="Aurelien Domont" userId="6da7715ce44349b3" providerId="LiveId" clId="{484DD64F-11B8-41CE-8137-F22080D59C6C}" dt="2021-07-23T05:45:42.827" v="1735"/>
          <ac:spMkLst>
            <pc:docMk/>
            <pc:sldMk cId="526020649" sldId="2201"/>
            <ac:spMk id="42" creationId="{20BB60F2-55BA-4E54-AF92-95738B4CF3C9}"/>
          </ac:spMkLst>
        </pc:spChg>
        <pc:spChg chg="add mod">
          <ac:chgData name="Aurelien Domont" userId="6da7715ce44349b3" providerId="LiveId" clId="{484DD64F-11B8-41CE-8137-F22080D59C6C}" dt="2021-07-23T05:45:42.827" v="1735"/>
          <ac:spMkLst>
            <pc:docMk/>
            <pc:sldMk cId="526020649" sldId="2201"/>
            <ac:spMk id="43" creationId="{5B61FC80-7FD8-4A30-9C81-C1CE40893DAB}"/>
          </ac:spMkLst>
        </pc:spChg>
        <pc:spChg chg="add mod">
          <ac:chgData name="Aurelien Domont" userId="6da7715ce44349b3" providerId="LiveId" clId="{484DD64F-11B8-41CE-8137-F22080D59C6C}" dt="2021-07-23T05:45:42.827" v="1735"/>
          <ac:spMkLst>
            <pc:docMk/>
            <pc:sldMk cId="526020649" sldId="2201"/>
            <ac:spMk id="44" creationId="{40658F0A-43C6-492D-A6A1-CA2175DA3B18}"/>
          </ac:spMkLst>
        </pc:spChg>
        <pc:spChg chg="add mod">
          <ac:chgData name="Aurelien Domont" userId="6da7715ce44349b3" providerId="LiveId" clId="{484DD64F-11B8-41CE-8137-F22080D59C6C}" dt="2021-07-23T05:45:42.827" v="1735"/>
          <ac:spMkLst>
            <pc:docMk/>
            <pc:sldMk cId="526020649" sldId="2201"/>
            <ac:spMk id="45" creationId="{81772B3B-1A14-4A9C-9AA8-CEEC8BBF4BFF}"/>
          </ac:spMkLst>
        </pc:spChg>
        <pc:spChg chg="add mod">
          <ac:chgData name="Aurelien Domont" userId="6da7715ce44349b3" providerId="LiveId" clId="{484DD64F-11B8-41CE-8137-F22080D59C6C}" dt="2021-07-23T05:45:42.827" v="1735"/>
          <ac:spMkLst>
            <pc:docMk/>
            <pc:sldMk cId="526020649" sldId="2201"/>
            <ac:spMk id="46" creationId="{6FB2536D-1689-46C6-B50D-EE240A8783A9}"/>
          </ac:spMkLst>
        </pc:spChg>
        <pc:spChg chg="add mod">
          <ac:chgData name="Aurelien Domont" userId="6da7715ce44349b3" providerId="LiveId" clId="{484DD64F-11B8-41CE-8137-F22080D59C6C}" dt="2021-07-23T05:45:42.827" v="1735"/>
          <ac:spMkLst>
            <pc:docMk/>
            <pc:sldMk cId="526020649" sldId="2201"/>
            <ac:spMk id="47" creationId="{D5C37398-B497-4264-993E-8B5DBD7A6C3D}"/>
          </ac:spMkLst>
        </pc:spChg>
        <pc:spChg chg="add mod">
          <ac:chgData name="Aurelien Domont" userId="6da7715ce44349b3" providerId="LiveId" clId="{484DD64F-11B8-41CE-8137-F22080D59C6C}" dt="2021-07-23T05:45:42.827" v="1735"/>
          <ac:spMkLst>
            <pc:docMk/>
            <pc:sldMk cId="526020649" sldId="2201"/>
            <ac:spMk id="48" creationId="{46A76752-A275-450D-85D5-DBC6462721C6}"/>
          </ac:spMkLst>
        </pc:spChg>
        <pc:spChg chg="add mod">
          <ac:chgData name="Aurelien Domont" userId="6da7715ce44349b3" providerId="LiveId" clId="{484DD64F-11B8-41CE-8137-F22080D59C6C}" dt="2021-07-23T05:45:42.827" v="1735"/>
          <ac:spMkLst>
            <pc:docMk/>
            <pc:sldMk cId="526020649" sldId="2201"/>
            <ac:spMk id="49" creationId="{29A5215A-8492-4B16-B04F-C8CD7F9D0D3A}"/>
          </ac:spMkLst>
        </pc:spChg>
      </pc:sldChg>
      <pc:sldChg chg="add del">
        <pc:chgData name="Aurelien Domont" userId="6da7715ce44349b3" providerId="LiveId" clId="{484DD64F-11B8-41CE-8137-F22080D59C6C}" dt="2021-07-23T04:37:52.232" v="1178" actId="47"/>
        <pc:sldMkLst>
          <pc:docMk/>
          <pc:sldMk cId="1762886633" sldId="2201"/>
        </pc:sldMkLst>
      </pc:sldChg>
      <pc:sldChg chg="addSp delSp modSp add mod">
        <pc:chgData name="Aurelien Domont" userId="6da7715ce44349b3" providerId="LiveId" clId="{484DD64F-11B8-41CE-8137-F22080D59C6C}" dt="2021-07-23T05:46:13.703" v="1737"/>
        <pc:sldMkLst>
          <pc:docMk/>
          <pc:sldMk cId="750087135" sldId="2202"/>
        </pc:sldMkLst>
        <pc:spChg chg="mod">
          <ac:chgData name="Aurelien Domont" userId="6da7715ce44349b3" providerId="LiveId" clId="{484DD64F-11B8-41CE-8137-F22080D59C6C}" dt="2021-07-23T04:40:01.889" v="1232" actId="108"/>
          <ac:spMkLst>
            <pc:docMk/>
            <pc:sldMk cId="750087135" sldId="2202"/>
            <ac:spMk id="6" creationId="{80C2FA24-C3FF-4F99-8694-BA262AB8070A}"/>
          </ac:spMkLst>
        </pc:spChg>
        <pc:spChg chg="mod">
          <ac:chgData name="Aurelien Domont" userId="6da7715ce44349b3" providerId="LiveId" clId="{484DD64F-11B8-41CE-8137-F22080D59C6C}" dt="2021-07-23T04:39:58.542" v="1231" actId="108"/>
          <ac:spMkLst>
            <pc:docMk/>
            <pc:sldMk cId="750087135" sldId="2202"/>
            <ac:spMk id="7" creationId="{AA474FA7-23F8-48D3-A4A1-46C7E7EF8CBF}"/>
          </ac:spMkLst>
        </pc:spChg>
        <pc:spChg chg="mod">
          <ac:chgData name="Aurelien Domont" userId="6da7715ce44349b3" providerId="LiveId" clId="{484DD64F-11B8-41CE-8137-F22080D59C6C}" dt="2021-07-23T04:39:44.771" v="1230" actId="20577"/>
          <ac:spMkLst>
            <pc:docMk/>
            <pc:sldMk cId="750087135" sldId="2202"/>
            <ac:spMk id="16" creationId="{6C2BB713-9637-4B9B-938F-E9768876782A}"/>
          </ac:spMkLst>
        </pc:spChg>
        <pc:spChg chg="del">
          <ac:chgData name="Aurelien Domont" userId="6da7715ce44349b3" providerId="LiveId" clId="{484DD64F-11B8-41CE-8137-F22080D59C6C}" dt="2021-07-23T05:46:13.230" v="1736" actId="478"/>
          <ac:spMkLst>
            <pc:docMk/>
            <pc:sldMk cId="750087135" sldId="2202"/>
            <ac:spMk id="21" creationId="{F2437C52-010C-4EBF-BBCE-0E50591FB98A}"/>
          </ac:spMkLst>
        </pc:spChg>
        <pc:spChg chg="del">
          <ac:chgData name="Aurelien Domont" userId="6da7715ce44349b3" providerId="LiveId" clId="{484DD64F-11B8-41CE-8137-F22080D59C6C}" dt="2021-07-23T05:46:13.230" v="1736" actId="478"/>
          <ac:spMkLst>
            <pc:docMk/>
            <pc:sldMk cId="750087135" sldId="2202"/>
            <ac:spMk id="22" creationId="{56D41D08-58DE-4B01-AFB6-B3B5DA2F554F}"/>
          </ac:spMkLst>
        </pc:spChg>
        <pc:spChg chg="del">
          <ac:chgData name="Aurelien Domont" userId="6da7715ce44349b3" providerId="LiveId" clId="{484DD64F-11B8-41CE-8137-F22080D59C6C}" dt="2021-07-23T05:46:13.230" v="1736" actId="478"/>
          <ac:spMkLst>
            <pc:docMk/>
            <pc:sldMk cId="750087135" sldId="2202"/>
            <ac:spMk id="23" creationId="{EA6679B0-9960-4EF1-8A84-788EE5B4064E}"/>
          </ac:spMkLst>
        </pc:spChg>
        <pc:spChg chg="del">
          <ac:chgData name="Aurelien Domont" userId="6da7715ce44349b3" providerId="LiveId" clId="{484DD64F-11B8-41CE-8137-F22080D59C6C}" dt="2021-07-23T05:46:13.230" v="1736" actId="478"/>
          <ac:spMkLst>
            <pc:docMk/>
            <pc:sldMk cId="750087135" sldId="2202"/>
            <ac:spMk id="28" creationId="{3BB8DC63-D8AC-44B7-AD6B-3344E0157ED9}"/>
          </ac:spMkLst>
        </pc:spChg>
        <pc:spChg chg="del">
          <ac:chgData name="Aurelien Domont" userId="6da7715ce44349b3" providerId="LiveId" clId="{484DD64F-11B8-41CE-8137-F22080D59C6C}" dt="2021-07-23T05:46:13.230" v="1736" actId="478"/>
          <ac:spMkLst>
            <pc:docMk/>
            <pc:sldMk cId="750087135" sldId="2202"/>
            <ac:spMk id="29" creationId="{3FAD4126-4F73-43D3-8CAA-EDADF7C21270}"/>
          </ac:spMkLst>
        </pc:spChg>
        <pc:spChg chg="del">
          <ac:chgData name="Aurelien Domont" userId="6da7715ce44349b3" providerId="LiveId" clId="{484DD64F-11B8-41CE-8137-F22080D59C6C}" dt="2021-07-23T05:46:13.230" v="1736" actId="478"/>
          <ac:spMkLst>
            <pc:docMk/>
            <pc:sldMk cId="750087135" sldId="2202"/>
            <ac:spMk id="30" creationId="{DF3BA851-E92A-44AA-8DFF-1F3C447EF430}"/>
          </ac:spMkLst>
        </pc:spChg>
        <pc:spChg chg="del">
          <ac:chgData name="Aurelien Domont" userId="6da7715ce44349b3" providerId="LiveId" clId="{484DD64F-11B8-41CE-8137-F22080D59C6C}" dt="2021-07-23T05:46:13.230" v="1736" actId="478"/>
          <ac:spMkLst>
            <pc:docMk/>
            <pc:sldMk cId="750087135" sldId="2202"/>
            <ac:spMk id="38" creationId="{0E15D843-821D-496E-9A06-D6C6FAAC07FF}"/>
          </ac:spMkLst>
        </pc:spChg>
        <pc:spChg chg="del">
          <ac:chgData name="Aurelien Domont" userId="6da7715ce44349b3" providerId="LiveId" clId="{484DD64F-11B8-41CE-8137-F22080D59C6C}" dt="2021-07-23T05:46:13.230" v="1736" actId="478"/>
          <ac:spMkLst>
            <pc:docMk/>
            <pc:sldMk cId="750087135" sldId="2202"/>
            <ac:spMk id="39" creationId="{A571E059-9603-41C6-ABD0-AD8036E2B8EB}"/>
          </ac:spMkLst>
        </pc:spChg>
        <pc:spChg chg="del">
          <ac:chgData name="Aurelien Domont" userId="6da7715ce44349b3" providerId="LiveId" clId="{484DD64F-11B8-41CE-8137-F22080D59C6C}" dt="2021-07-23T05:46:13.230" v="1736" actId="478"/>
          <ac:spMkLst>
            <pc:docMk/>
            <pc:sldMk cId="750087135" sldId="2202"/>
            <ac:spMk id="40" creationId="{8C4BB92A-74BF-4E3E-8E05-643E31EB0035}"/>
          </ac:spMkLst>
        </pc:spChg>
        <pc:spChg chg="add mod">
          <ac:chgData name="Aurelien Domont" userId="6da7715ce44349b3" providerId="LiveId" clId="{484DD64F-11B8-41CE-8137-F22080D59C6C}" dt="2021-07-23T05:46:13.703" v="1737"/>
          <ac:spMkLst>
            <pc:docMk/>
            <pc:sldMk cId="750087135" sldId="2202"/>
            <ac:spMk id="41" creationId="{69FAB97F-DE5B-4C2D-8A9F-25E48FA01F20}"/>
          </ac:spMkLst>
        </pc:spChg>
        <pc:spChg chg="add mod">
          <ac:chgData name="Aurelien Domont" userId="6da7715ce44349b3" providerId="LiveId" clId="{484DD64F-11B8-41CE-8137-F22080D59C6C}" dt="2021-07-23T05:46:13.703" v="1737"/>
          <ac:spMkLst>
            <pc:docMk/>
            <pc:sldMk cId="750087135" sldId="2202"/>
            <ac:spMk id="42" creationId="{35AEA703-0695-4FA6-B377-89F0AA47F780}"/>
          </ac:spMkLst>
        </pc:spChg>
        <pc:spChg chg="add mod">
          <ac:chgData name="Aurelien Domont" userId="6da7715ce44349b3" providerId="LiveId" clId="{484DD64F-11B8-41CE-8137-F22080D59C6C}" dt="2021-07-23T05:46:13.703" v="1737"/>
          <ac:spMkLst>
            <pc:docMk/>
            <pc:sldMk cId="750087135" sldId="2202"/>
            <ac:spMk id="43" creationId="{DE906AFB-951A-469E-B0E1-74784B47250C}"/>
          </ac:spMkLst>
        </pc:spChg>
        <pc:spChg chg="add mod">
          <ac:chgData name="Aurelien Domont" userId="6da7715ce44349b3" providerId="LiveId" clId="{484DD64F-11B8-41CE-8137-F22080D59C6C}" dt="2021-07-23T05:46:13.703" v="1737"/>
          <ac:spMkLst>
            <pc:docMk/>
            <pc:sldMk cId="750087135" sldId="2202"/>
            <ac:spMk id="44" creationId="{727AABA0-49DD-4275-AA00-F9FADC082D5A}"/>
          </ac:spMkLst>
        </pc:spChg>
        <pc:spChg chg="add mod">
          <ac:chgData name="Aurelien Domont" userId="6da7715ce44349b3" providerId="LiveId" clId="{484DD64F-11B8-41CE-8137-F22080D59C6C}" dt="2021-07-23T05:46:13.703" v="1737"/>
          <ac:spMkLst>
            <pc:docMk/>
            <pc:sldMk cId="750087135" sldId="2202"/>
            <ac:spMk id="45" creationId="{381C3961-C14F-44BD-9884-CFE86028E651}"/>
          </ac:spMkLst>
        </pc:spChg>
        <pc:spChg chg="add mod">
          <ac:chgData name="Aurelien Domont" userId="6da7715ce44349b3" providerId="LiveId" clId="{484DD64F-11B8-41CE-8137-F22080D59C6C}" dt="2021-07-23T05:46:13.703" v="1737"/>
          <ac:spMkLst>
            <pc:docMk/>
            <pc:sldMk cId="750087135" sldId="2202"/>
            <ac:spMk id="46" creationId="{B351FE10-219E-4988-A70E-71535F6DC742}"/>
          </ac:spMkLst>
        </pc:spChg>
        <pc:spChg chg="add mod">
          <ac:chgData name="Aurelien Domont" userId="6da7715ce44349b3" providerId="LiveId" clId="{484DD64F-11B8-41CE-8137-F22080D59C6C}" dt="2021-07-23T05:46:13.703" v="1737"/>
          <ac:spMkLst>
            <pc:docMk/>
            <pc:sldMk cId="750087135" sldId="2202"/>
            <ac:spMk id="47" creationId="{2104DCB7-D511-4A38-9390-268496914429}"/>
          </ac:spMkLst>
        </pc:spChg>
        <pc:spChg chg="add mod">
          <ac:chgData name="Aurelien Domont" userId="6da7715ce44349b3" providerId="LiveId" clId="{484DD64F-11B8-41CE-8137-F22080D59C6C}" dt="2021-07-23T05:46:13.703" v="1737"/>
          <ac:spMkLst>
            <pc:docMk/>
            <pc:sldMk cId="750087135" sldId="2202"/>
            <ac:spMk id="48" creationId="{8D70FB0A-38E1-413F-891A-7341892C48C5}"/>
          </ac:spMkLst>
        </pc:spChg>
        <pc:spChg chg="add mod">
          <ac:chgData name="Aurelien Domont" userId="6da7715ce44349b3" providerId="LiveId" clId="{484DD64F-11B8-41CE-8137-F22080D59C6C}" dt="2021-07-23T05:46:13.703" v="1737"/>
          <ac:spMkLst>
            <pc:docMk/>
            <pc:sldMk cId="750087135" sldId="2202"/>
            <ac:spMk id="49" creationId="{2ACFEC94-FA86-4D6E-B9AB-B38911366A4B}"/>
          </ac:spMkLst>
        </pc:spChg>
      </pc:sldChg>
      <pc:sldChg chg="addSp delSp modSp add mod">
        <pc:chgData name="Aurelien Domont" userId="6da7715ce44349b3" providerId="LiveId" clId="{484DD64F-11B8-41CE-8137-F22080D59C6C}" dt="2021-07-23T05:46:23.806" v="1739"/>
        <pc:sldMkLst>
          <pc:docMk/>
          <pc:sldMk cId="4234697142" sldId="2203"/>
        </pc:sldMkLst>
        <pc:spChg chg="mod">
          <ac:chgData name="Aurelien Domont" userId="6da7715ce44349b3" providerId="LiveId" clId="{484DD64F-11B8-41CE-8137-F22080D59C6C}" dt="2021-07-23T04:40:28.089" v="1240" actId="108"/>
          <ac:spMkLst>
            <pc:docMk/>
            <pc:sldMk cId="4234697142" sldId="2203"/>
            <ac:spMk id="7" creationId="{AA474FA7-23F8-48D3-A4A1-46C7E7EF8CBF}"/>
          </ac:spMkLst>
        </pc:spChg>
        <pc:spChg chg="mod">
          <ac:chgData name="Aurelien Domont" userId="6da7715ce44349b3" providerId="LiveId" clId="{484DD64F-11B8-41CE-8137-F22080D59C6C}" dt="2021-07-23T04:40:24.766" v="1239" actId="108"/>
          <ac:spMkLst>
            <pc:docMk/>
            <pc:sldMk cId="4234697142" sldId="2203"/>
            <ac:spMk id="8" creationId="{44D82846-5412-4854-9CE9-6BD4A4D3F201}"/>
          </ac:spMkLst>
        </pc:spChg>
        <pc:spChg chg="mod">
          <ac:chgData name="Aurelien Domont" userId="6da7715ce44349b3" providerId="LiveId" clId="{484DD64F-11B8-41CE-8137-F22080D59C6C}" dt="2021-07-23T04:40:21.560" v="1238" actId="20577"/>
          <ac:spMkLst>
            <pc:docMk/>
            <pc:sldMk cId="4234697142" sldId="2203"/>
            <ac:spMk id="16" creationId="{6C2BB713-9637-4B9B-938F-E9768876782A}"/>
          </ac:spMkLst>
        </pc:spChg>
        <pc:spChg chg="del">
          <ac:chgData name="Aurelien Domont" userId="6da7715ce44349b3" providerId="LiveId" clId="{484DD64F-11B8-41CE-8137-F22080D59C6C}" dt="2021-07-23T05:46:23.513" v="1738" actId="478"/>
          <ac:spMkLst>
            <pc:docMk/>
            <pc:sldMk cId="4234697142" sldId="2203"/>
            <ac:spMk id="21" creationId="{F2437C52-010C-4EBF-BBCE-0E50591FB98A}"/>
          </ac:spMkLst>
        </pc:spChg>
        <pc:spChg chg="del">
          <ac:chgData name="Aurelien Domont" userId="6da7715ce44349b3" providerId="LiveId" clId="{484DD64F-11B8-41CE-8137-F22080D59C6C}" dt="2021-07-23T05:46:23.513" v="1738" actId="478"/>
          <ac:spMkLst>
            <pc:docMk/>
            <pc:sldMk cId="4234697142" sldId="2203"/>
            <ac:spMk id="22" creationId="{56D41D08-58DE-4B01-AFB6-B3B5DA2F554F}"/>
          </ac:spMkLst>
        </pc:spChg>
        <pc:spChg chg="del">
          <ac:chgData name="Aurelien Domont" userId="6da7715ce44349b3" providerId="LiveId" clId="{484DD64F-11B8-41CE-8137-F22080D59C6C}" dt="2021-07-23T05:46:23.513" v="1738" actId="478"/>
          <ac:spMkLst>
            <pc:docMk/>
            <pc:sldMk cId="4234697142" sldId="2203"/>
            <ac:spMk id="23" creationId="{EA6679B0-9960-4EF1-8A84-788EE5B4064E}"/>
          </ac:spMkLst>
        </pc:spChg>
        <pc:spChg chg="del">
          <ac:chgData name="Aurelien Domont" userId="6da7715ce44349b3" providerId="LiveId" clId="{484DD64F-11B8-41CE-8137-F22080D59C6C}" dt="2021-07-23T05:46:23.513" v="1738" actId="478"/>
          <ac:spMkLst>
            <pc:docMk/>
            <pc:sldMk cId="4234697142" sldId="2203"/>
            <ac:spMk id="28" creationId="{3BB8DC63-D8AC-44B7-AD6B-3344E0157ED9}"/>
          </ac:spMkLst>
        </pc:spChg>
        <pc:spChg chg="del">
          <ac:chgData name="Aurelien Domont" userId="6da7715ce44349b3" providerId="LiveId" clId="{484DD64F-11B8-41CE-8137-F22080D59C6C}" dt="2021-07-23T05:46:23.513" v="1738" actId="478"/>
          <ac:spMkLst>
            <pc:docMk/>
            <pc:sldMk cId="4234697142" sldId="2203"/>
            <ac:spMk id="29" creationId="{3FAD4126-4F73-43D3-8CAA-EDADF7C21270}"/>
          </ac:spMkLst>
        </pc:spChg>
        <pc:spChg chg="del">
          <ac:chgData name="Aurelien Domont" userId="6da7715ce44349b3" providerId="LiveId" clId="{484DD64F-11B8-41CE-8137-F22080D59C6C}" dt="2021-07-23T05:46:23.513" v="1738" actId="478"/>
          <ac:spMkLst>
            <pc:docMk/>
            <pc:sldMk cId="4234697142" sldId="2203"/>
            <ac:spMk id="30" creationId="{DF3BA851-E92A-44AA-8DFF-1F3C447EF430}"/>
          </ac:spMkLst>
        </pc:spChg>
        <pc:spChg chg="del">
          <ac:chgData name="Aurelien Domont" userId="6da7715ce44349b3" providerId="LiveId" clId="{484DD64F-11B8-41CE-8137-F22080D59C6C}" dt="2021-07-23T05:46:23.513" v="1738" actId="478"/>
          <ac:spMkLst>
            <pc:docMk/>
            <pc:sldMk cId="4234697142" sldId="2203"/>
            <ac:spMk id="38" creationId="{0E15D843-821D-496E-9A06-D6C6FAAC07FF}"/>
          </ac:spMkLst>
        </pc:spChg>
        <pc:spChg chg="del">
          <ac:chgData name="Aurelien Domont" userId="6da7715ce44349b3" providerId="LiveId" clId="{484DD64F-11B8-41CE-8137-F22080D59C6C}" dt="2021-07-23T05:46:23.513" v="1738" actId="478"/>
          <ac:spMkLst>
            <pc:docMk/>
            <pc:sldMk cId="4234697142" sldId="2203"/>
            <ac:spMk id="39" creationId="{A571E059-9603-41C6-ABD0-AD8036E2B8EB}"/>
          </ac:spMkLst>
        </pc:spChg>
        <pc:spChg chg="del">
          <ac:chgData name="Aurelien Domont" userId="6da7715ce44349b3" providerId="LiveId" clId="{484DD64F-11B8-41CE-8137-F22080D59C6C}" dt="2021-07-23T05:46:23.513" v="1738" actId="478"/>
          <ac:spMkLst>
            <pc:docMk/>
            <pc:sldMk cId="4234697142" sldId="2203"/>
            <ac:spMk id="40" creationId="{8C4BB92A-74BF-4E3E-8E05-643E31EB0035}"/>
          </ac:spMkLst>
        </pc:spChg>
        <pc:spChg chg="add mod">
          <ac:chgData name="Aurelien Domont" userId="6da7715ce44349b3" providerId="LiveId" clId="{484DD64F-11B8-41CE-8137-F22080D59C6C}" dt="2021-07-23T05:46:23.806" v="1739"/>
          <ac:spMkLst>
            <pc:docMk/>
            <pc:sldMk cId="4234697142" sldId="2203"/>
            <ac:spMk id="41" creationId="{5643C44C-FB03-452C-891C-D28A6186009A}"/>
          </ac:spMkLst>
        </pc:spChg>
        <pc:spChg chg="add mod">
          <ac:chgData name="Aurelien Domont" userId="6da7715ce44349b3" providerId="LiveId" clId="{484DD64F-11B8-41CE-8137-F22080D59C6C}" dt="2021-07-23T05:46:23.806" v="1739"/>
          <ac:spMkLst>
            <pc:docMk/>
            <pc:sldMk cId="4234697142" sldId="2203"/>
            <ac:spMk id="42" creationId="{C1F2B71E-DE50-4B9A-AB78-400DCB80E7A2}"/>
          </ac:spMkLst>
        </pc:spChg>
        <pc:spChg chg="add mod">
          <ac:chgData name="Aurelien Domont" userId="6da7715ce44349b3" providerId="LiveId" clId="{484DD64F-11B8-41CE-8137-F22080D59C6C}" dt="2021-07-23T05:46:23.806" v="1739"/>
          <ac:spMkLst>
            <pc:docMk/>
            <pc:sldMk cId="4234697142" sldId="2203"/>
            <ac:spMk id="43" creationId="{C49F8ACC-97F8-4AF6-B1F7-C7496C3E84CF}"/>
          </ac:spMkLst>
        </pc:spChg>
        <pc:spChg chg="add mod">
          <ac:chgData name="Aurelien Domont" userId="6da7715ce44349b3" providerId="LiveId" clId="{484DD64F-11B8-41CE-8137-F22080D59C6C}" dt="2021-07-23T05:46:23.806" v="1739"/>
          <ac:spMkLst>
            <pc:docMk/>
            <pc:sldMk cId="4234697142" sldId="2203"/>
            <ac:spMk id="44" creationId="{4AAEDCA6-6935-42E9-995F-5B2BB75C8093}"/>
          </ac:spMkLst>
        </pc:spChg>
        <pc:spChg chg="add mod">
          <ac:chgData name="Aurelien Domont" userId="6da7715ce44349b3" providerId="LiveId" clId="{484DD64F-11B8-41CE-8137-F22080D59C6C}" dt="2021-07-23T05:46:23.806" v="1739"/>
          <ac:spMkLst>
            <pc:docMk/>
            <pc:sldMk cId="4234697142" sldId="2203"/>
            <ac:spMk id="45" creationId="{647AC9B6-EB70-4E7B-94D7-C995711A791B}"/>
          </ac:spMkLst>
        </pc:spChg>
        <pc:spChg chg="add mod">
          <ac:chgData name="Aurelien Domont" userId="6da7715ce44349b3" providerId="LiveId" clId="{484DD64F-11B8-41CE-8137-F22080D59C6C}" dt="2021-07-23T05:46:23.806" v="1739"/>
          <ac:spMkLst>
            <pc:docMk/>
            <pc:sldMk cId="4234697142" sldId="2203"/>
            <ac:spMk id="46" creationId="{F99B3518-70AC-4897-AC9A-1AEED3986257}"/>
          </ac:spMkLst>
        </pc:spChg>
        <pc:spChg chg="add mod">
          <ac:chgData name="Aurelien Domont" userId="6da7715ce44349b3" providerId="LiveId" clId="{484DD64F-11B8-41CE-8137-F22080D59C6C}" dt="2021-07-23T05:46:23.806" v="1739"/>
          <ac:spMkLst>
            <pc:docMk/>
            <pc:sldMk cId="4234697142" sldId="2203"/>
            <ac:spMk id="47" creationId="{7BFC03B7-AC43-4564-9794-3CF4136472FB}"/>
          </ac:spMkLst>
        </pc:spChg>
        <pc:spChg chg="add mod">
          <ac:chgData name="Aurelien Domont" userId="6da7715ce44349b3" providerId="LiveId" clId="{484DD64F-11B8-41CE-8137-F22080D59C6C}" dt="2021-07-23T05:46:23.806" v="1739"/>
          <ac:spMkLst>
            <pc:docMk/>
            <pc:sldMk cId="4234697142" sldId="2203"/>
            <ac:spMk id="48" creationId="{4DAB2410-E14F-4F06-880B-4D2D7F4298EF}"/>
          </ac:spMkLst>
        </pc:spChg>
        <pc:spChg chg="add mod">
          <ac:chgData name="Aurelien Domont" userId="6da7715ce44349b3" providerId="LiveId" clId="{484DD64F-11B8-41CE-8137-F22080D59C6C}" dt="2021-07-23T05:46:23.806" v="1739"/>
          <ac:spMkLst>
            <pc:docMk/>
            <pc:sldMk cId="4234697142" sldId="2203"/>
            <ac:spMk id="49" creationId="{F15404F5-B68C-4E16-93F1-8585B375D750}"/>
          </ac:spMkLst>
        </pc:spChg>
      </pc:sldChg>
      <pc:sldChg chg="addSp delSp modSp add mod">
        <pc:chgData name="Aurelien Domont" userId="6da7715ce44349b3" providerId="LiveId" clId="{484DD64F-11B8-41CE-8137-F22080D59C6C}" dt="2021-07-23T05:53:32.113" v="1746" actId="113"/>
        <pc:sldMkLst>
          <pc:docMk/>
          <pc:sldMk cId="224053391" sldId="2204"/>
        </pc:sldMkLst>
        <pc:spChg chg="mod">
          <ac:chgData name="Aurelien Domont" userId="6da7715ce44349b3" providerId="LiveId" clId="{484DD64F-11B8-41CE-8137-F22080D59C6C}" dt="2021-07-23T05:53:32.113" v="1746" actId="113"/>
          <ac:spMkLst>
            <pc:docMk/>
            <pc:sldMk cId="224053391" sldId="2204"/>
            <ac:spMk id="2" creationId="{49C9F90D-3606-495B-9201-34A27BF7A42D}"/>
          </ac:spMkLst>
        </pc:spChg>
        <pc:spChg chg="mod">
          <ac:chgData name="Aurelien Domont" userId="6da7715ce44349b3" providerId="LiveId" clId="{484DD64F-11B8-41CE-8137-F22080D59C6C}" dt="2021-07-23T04:42:01.869" v="1264" actId="108"/>
          <ac:spMkLst>
            <pc:docMk/>
            <pc:sldMk cId="224053391" sldId="2204"/>
            <ac:spMk id="8" creationId="{44D82846-5412-4854-9CE9-6BD4A4D3F201}"/>
          </ac:spMkLst>
        </pc:spChg>
        <pc:spChg chg="mod">
          <ac:chgData name="Aurelien Domont" userId="6da7715ce44349b3" providerId="LiveId" clId="{484DD64F-11B8-41CE-8137-F22080D59C6C}" dt="2021-07-23T04:41:50.072" v="1263"/>
          <ac:spMkLst>
            <pc:docMk/>
            <pc:sldMk cId="224053391" sldId="2204"/>
            <ac:spMk id="16" creationId="{6C2BB713-9637-4B9B-938F-E9768876782A}"/>
          </ac:spMkLst>
        </pc:spChg>
        <pc:spChg chg="del">
          <ac:chgData name="Aurelien Domont" userId="6da7715ce44349b3" providerId="LiveId" clId="{484DD64F-11B8-41CE-8137-F22080D59C6C}" dt="2021-07-23T05:46:36.091" v="1740" actId="478"/>
          <ac:spMkLst>
            <pc:docMk/>
            <pc:sldMk cId="224053391" sldId="2204"/>
            <ac:spMk id="21" creationId="{F2437C52-010C-4EBF-BBCE-0E50591FB98A}"/>
          </ac:spMkLst>
        </pc:spChg>
        <pc:spChg chg="del">
          <ac:chgData name="Aurelien Domont" userId="6da7715ce44349b3" providerId="LiveId" clId="{484DD64F-11B8-41CE-8137-F22080D59C6C}" dt="2021-07-23T05:46:36.091" v="1740" actId="478"/>
          <ac:spMkLst>
            <pc:docMk/>
            <pc:sldMk cId="224053391" sldId="2204"/>
            <ac:spMk id="22" creationId="{56D41D08-58DE-4B01-AFB6-B3B5DA2F554F}"/>
          </ac:spMkLst>
        </pc:spChg>
        <pc:spChg chg="del">
          <ac:chgData name="Aurelien Domont" userId="6da7715ce44349b3" providerId="LiveId" clId="{484DD64F-11B8-41CE-8137-F22080D59C6C}" dt="2021-07-23T05:46:36.091" v="1740" actId="478"/>
          <ac:spMkLst>
            <pc:docMk/>
            <pc:sldMk cId="224053391" sldId="2204"/>
            <ac:spMk id="23" creationId="{EA6679B0-9960-4EF1-8A84-788EE5B4064E}"/>
          </ac:spMkLst>
        </pc:spChg>
        <pc:spChg chg="del">
          <ac:chgData name="Aurelien Domont" userId="6da7715ce44349b3" providerId="LiveId" clId="{484DD64F-11B8-41CE-8137-F22080D59C6C}" dt="2021-07-23T05:46:36.091" v="1740" actId="478"/>
          <ac:spMkLst>
            <pc:docMk/>
            <pc:sldMk cId="224053391" sldId="2204"/>
            <ac:spMk id="28" creationId="{3BB8DC63-D8AC-44B7-AD6B-3344E0157ED9}"/>
          </ac:spMkLst>
        </pc:spChg>
        <pc:spChg chg="del">
          <ac:chgData name="Aurelien Domont" userId="6da7715ce44349b3" providerId="LiveId" clId="{484DD64F-11B8-41CE-8137-F22080D59C6C}" dt="2021-07-23T05:46:36.091" v="1740" actId="478"/>
          <ac:spMkLst>
            <pc:docMk/>
            <pc:sldMk cId="224053391" sldId="2204"/>
            <ac:spMk id="29" creationId="{3FAD4126-4F73-43D3-8CAA-EDADF7C21270}"/>
          </ac:spMkLst>
        </pc:spChg>
        <pc:spChg chg="del">
          <ac:chgData name="Aurelien Domont" userId="6da7715ce44349b3" providerId="LiveId" clId="{484DD64F-11B8-41CE-8137-F22080D59C6C}" dt="2021-07-23T05:46:36.091" v="1740" actId="478"/>
          <ac:spMkLst>
            <pc:docMk/>
            <pc:sldMk cId="224053391" sldId="2204"/>
            <ac:spMk id="30" creationId="{DF3BA851-E92A-44AA-8DFF-1F3C447EF430}"/>
          </ac:spMkLst>
        </pc:spChg>
        <pc:spChg chg="del">
          <ac:chgData name="Aurelien Domont" userId="6da7715ce44349b3" providerId="LiveId" clId="{484DD64F-11B8-41CE-8137-F22080D59C6C}" dt="2021-07-23T05:46:36.091" v="1740" actId="478"/>
          <ac:spMkLst>
            <pc:docMk/>
            <pc:sldMk cId="224053391" sldId="2204"/>
            <ac:spMk id="38" creationId="{0E15D843-821D-496E-9A06-D6C6FAAC07FF}"/>
          </ac:spMkLst>
        </pc:spChg>
        <pc:spChg chg="del">
          <ac:chgData name="Aurelien Domont" userId="6da7715ce44349b3" providerId="LiveId" clId="{484DD64F-11B8-41CE-8137-F22080D59C6C}" dt="2021-07-23T05:46:36.091" v="1740" actId="478"/>
          <ac:spMkLst>
            <pc:docMk/>
            <pc:sldMk cId="224053391" sldId="2204"/>
            <ac:spMk id="39" creationId="{A571E059-9603-41C6-ABD0-AD8036E2B8EB}"/>
          </ac:spMkLst>
        </pc:spChg>
        <pc:spChg chg="del">
          <ac:chgData name="Aurelien Domont" userId="6da7715ce44349b3" providerId="LiveId" clId="{484DD64F-11B8-41CE-8137-F22080D59C6C}" dt="2021-07-23T05:46:36.091" v="1740" actId="478"/>
          <ac:spMkLst>
            <pc:docMk/>
            <pc:sldMk cId="224053391" sldId="2204"/>
            <ac:spMk id="40" creationId="{8C4BB92A-74BF-4E3E-8E05-643E31EB0035}"/>
          </ac:spMkLst>
        </pc:spChg>
        <pc:spChg chg="add mod">
          <ac:chgData name="Aurelien Domont" userId="6da7715ce44349b3" providerId="LiveId" clId="{484DD64F-11B8-41CE-8137-F22080D59C6C}" dt="2021-07-23T05:46:36.326" v="1741"/>
          <ac:spMkLst>
            <pc:docMk/>
            <pc:sldMk cId="224053391" sldId="2204"/>
            <ac:spMk id="41" creationId="{6A6FD7C7-B66B-4814-AEFA-E831F6AFBCFB}"/>
          </ac:spMkLst>
        </pc:spChg>
        <pc:spChg chg="add mod">
          <ac:chgData name="Aurelien Domont" userId="6da7715ce44349b3" providerId="LiveId" clId="{484DD64F-11B8-41CE-8137-F22080D59C6C}" dt="2021-07-23T05:46:36.326" v="1741"/>
          <ac:spMkLst>
            <pc:docMk/>
            <pc:sldMk cId="224053391" sldId="2204"/>
            <ac:spMk id="42" creationId="{3CA3BEFF-31F9-4BAC-B207-ADBC195A51BF}"/>
          </ac:spMkLst>
        </pc:spChg>
        <pc:spChg chg="add mod">
          <ac:chgData name="Aurelien Domont" userId="6da7715ce44349b3" providerId="LiveId" clId="{484DD64F-11B8-41CE-8137-F22080D59C6C}" dt="2021-07-23T05:46:36.326" v="1741"/>
          <ac:spMkLst>
            <pc:docMk/>
            <pc:sldMk cId="224053391" sldId="2204"/>
            <ac:spMk id="43" creationId="{31BECA40-439A-41F4-BCA4-1CED419F63B8}"/>
          </ac:spMkLst>
        </pc:spChg>
        <pc:spChg chg="add mod">
          <ac:chgData name="Aurelien Domont" userId="6da7715ce44349b3" providerId="LiveId" clId="{484DD64F-11B8-41CE-8137-F22080D59C6C}" dt="2021-07-23T05:46:36.326" v="1741"/>
          <ac:spMkLst>
            <pc:docMk/>
            <pc:sldMk cId="224053391" sldId="2204"/>
            <ac:spMk id="44" creationId="{FE27825B-8D55-4EB8-A387-53CF80EE8AF6}"/>
          </ac:spMkLst>
        </pc:spChg>
        <pc:spChg chg="add mod">
          <ac:chgData name="Aurelien Domont" userId="6da7715ce44349b3" providerId="LiveId" clId="{484DD64F-11B8-41CE-8137-F22080D59C6C}" dt="2021-07-23T05:46:36.326" v="1741"/>
          <ac:spMkLst>
            <pc:docMk/>
            <pc:sldMk cId="224053391" sldId="2204"/>
            <ac:spMk id="45" creationId="{7C7F5C6A-ACC0-4286-B420-B043C0C66C94}"/>
          </ac:spMkLst>
        </pc:spChg>
        <pc:spChg chg="add mod">
          <ac:chgData name="Aurelien Domont" userId="6da7715ce44349b3" providerId="LiveId" clId="{484DD64F-11B8-41CE-8137-F22080D59C6C}" dt="2021-07-23T05:46:36.326" v="1741"/>
          <ac:spMkLst>
            <pc:docMk/>
            <pc:sldMk cId="224053391" sldId="2204"/>
            <ac:spMk id="46" creationId="{8134BEB1-2573-4BC4-96B9-DCA58D93FE6F}"/>
          </ac:spMkLst>
        </pc:spChg>
        <pc:spChg chg="add mod">
          <ac:chgData name="Aurelien Domont" userId="6da7715ce44349b3" providerId="LiveId" clId="{484DD64F-11B8-41CE-8137-F22080D59C6C}" dt="2021-07-23T05:46:36.326" v="1741"/>
          <ac:spMkLst>
            <pc:docMk/>
            <pc:sldMk cId="224053391" sldId="2204"/>
            <ac:spMk id="47" creationId="{50DBA83F-09D5-4D72-B51A-25E4D66C8FEE}"/>
          </ac:spMkLst>
        </pc:spChg>
        <pc:spChg chg="add mod">
          <ac:chgData name="Aurelien Domont" userId="6da7715ce44349b3" providerId="LiveId" clId="{484DD64F-11B8-41CE-8137-F22080D59C6C}" dt="2021-07-23T05:46:36.326" v="1741"/>
          <ac:spMkLst>
            <pc:docMk/>
            <pc:sldMk cId="224053391" sldId="2204"/>
            <ac:spMk id="48" creationId="{FB59E5D9-E2B9-443A-95CA-E26E76B6F98B}"/>
          </ac:spMkLst>
        </pc:spChg>
        <pc:spChg chg="add mod">
          <ac:chgData name="Aurelien Domont" userId="6da7715ce44349b3" providerId="LiveId" clId="{484DD64F-11B8-41CE-8137-F22080D59C6C}" dt="2021-07-23T05:46:36.326" v="1741"/>
          <ac:spMkLst>
            <pc:docMk/>
            <pc:sldMk cId="224053391" sldId="2204"/>
            <ac:spMk id="49" creationId="{33B3359C-432C-4545-9255-53E06496A40E}"/>
          </ac:spMkLst>
        </pc:sp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20T00:29:00.949" v="631" actId="47"/>
      <pc:docMkLst>
        <pc:docMk/>
      </pc:docMkLst>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2349E0AC-9333-4F13-B2C9-E74906101359}"/>
    <pc:docChg chg="undo redo custSel addSld delSld modSld sldOrd">
      <pc:chgData name="Aurelien Domont" userId="6da7715ce44349b3" providerId="LiveId" clId="{2349E0AC-9333-4F13-B2C9-E74906101359}" dt="2022-12-07T03:09:02.623" v="5862"/>
      <pc:docMkLst>
        <pc:docMk/>
      </pc:docMkLst>
      <pc:sldChg chg="addSp delSp modSp mod">
        <pc:chgData name="Aurelien Domont" userId="6da7715ce44349b3" providerId="LiveId" clId="{2349E0AC-9333-4F13-B2C9-E74906101359}" dt="2022-12-07T03:08:14.384" v="5860"/>
        <pc:sldMkLst>
          <pc:docMk/>
          <pc:sldMk cId="3131901387" sldId="256"/>
        </pc:sldMkLst>
        <pc:spChg chg="mod">
          <ac:chgData name="Aurelien Domont" userId="6da7715ce44349b3" providerId="LiveId" clId="{2349E0AC-9333-4F13-B2C9-E74906101359}" dt="2021-09-09T05:42:19.723" v="30" actId="20577"/>
          <ac:spMkLst>
            <pc:docMk/>
            <pc:sldMk cId="3131901387" sldId="256"/>
            <ac:spMk id="2" creationId="{5261080C-C60C-4746-B6B1-A9A4FFA86785}"/>
          </ac:spMkLst>
        </pc:spChg>
        <pc:spChg chg="mod">
          <ac:chgData name="Aurelien Domont" userId="6da7715ce44349b3" providerId="LiveId" clId="{2349E0AC-9333-4F13-B2C9-E74906101359}" dt="2021-09-13T07:24:56.028" v="1898" actId="20577"/>
          <ac:spMkLst>
            <pc:docMk/>
            <pc:sldMk cId="3131901387" sldId="256"/>
            <ac:spMk id="16" creationId="{2436D48A-FAB5-4E4C-AB97-233E7A3795E6}"/>
          </ac:spMkLst>
        </pc:spChg>
        <pc:picChg chg="add mod">
          <ac:chgData name="Aurelien Domont" userId="6da7715ce44349b3" providerId="LiveId" clId="{2349E0AC-9333-4F13-B2C9-E74906101359}" dt="2022-12-07T03:08:14.384" v="5860"/>
          <ac:picMkLst>
            <pc:docMk/>
            <pc:sldMk cId="3131901387" sldId="256"/>
            <ac:picMk id="3" creationId="{DE7D1053-BB53-2A81-A388-CD611081B918}"/>
          </ac:picMkLst>
        </pc:picChg>
        <pc:picChg chg="del">
          <ac:chgData name="Aurelien Domont" userId="6da7715ce44349b3" providerId="LiveId" clId="{2349E0AC-9333-4F13-B2C9-E74906101359}" dt="2022-12-07T03:08:14.096" v="5859" actId="478"/>
          <ac:picMkLst>
            <pc:docMk/>
            <pc:sldMk cId="3131901387" sldId="256"/>
            <ac:picMk id="7" creationId="{56F6D9FE-2BD8-43FA-8517-544E7B92AA1A}"/>
          </ac:picMkLst>
        </pc:picChg>
      </pc:sldChg>
      <pc:sldChg chg="del">
        <pc:chgData name="Aurelien Domont" userId="6da7715ce44349b3" providerId="LiveId" clId="{2349E0AC-9333-4F13-B2C9-E74906101359}" dt="2021-09-09T06:01:33.871" v="271" actId="47"/>
        <pc:sldMkLst>
          <pc:docMk/>
          <pc:sldMk cId="3072119178" sldId="1488"/>
        </pc:sldMkLst>
      </pc:sldChg>
      <pc:sldChg chg="del">
        <pc:chgData name="Aurelien Domont" userId="6da7715ce44349b3" providerId="LiveId" clId="{2349E0AC-9333-4F13-B2C9-E74906101359}" dt="2021-09-09T06:01:33.871" v="271" actId="47"/>
        <pc:sldMkLst>
          <pc:docMk/>
          <pc:sldMk cId="926313830" sldId="1489"/>
        </pc:sldMkLst>
      </pc:sldChg>
      <pc:sldChg chg="del">
        <pc:chgData name="Aurelien Domont" userId="6da7715ce44349b3" providerId="LiveId" clId="{2349E0AC-9333-4F13-B2C9-E74906101359}" dt="2021-09-09T06:01:33.871" v="271" actId="47"/>
        <pc:sldMkLst>
          <pc:docMk/>
          <pc:sldMk cId="3370215172" sldId="1490"/>
        </pc:sldMkLst>
      </pc:sldChg>
      <pc:sldChg chg="del">
        <pc:chgData name="Aurelien Domont" userId="6da7715ce44349b3" providerId="LiveId" clId="{2349E0AC-9333-4F13-B2C9-E74906101359}" dt="2021-09-09T06:01:33.871" v="271" actId="47"/>
        <pc:sldMkLst>
          <pc:docMk/>
          <pc:sldMk cId="388158782" sldId="1514"/>
        </pc:sldMkLst>
      </pc:sldChg>
      <pc:sldChg chg="del">
        <pc:chgData name="Aurelien Domont" userId="6da7715ce44349b3" providerId="LiveId" clId="{2349E0AC-9333-4F13-B2C9-E74906101359}" dt="2021-09-09T06:01:33.871" v="271" actId="47"/>
        <pc:sldMkLst>
          <pc:docMk/>
          <pc:sldMk cId="2270541995" sldId="1519"/>
        </pc:sldMkLst>
      </pc:sldChg>
      <pc:sldChg chg="del">
        <pc:chgData name="Aurelien Domont" userId="6da7715ce44349b3" providerId="LiveId" clId="{2349E0AC-9333-4F13-B2C9-E74906101359}" dt="2021-09-09T06:01:33.871" v="271" actId="47"/>
        <pc:sldMkLst>
          <pc:docMk/>
          <pc:sldMk cId="112122695" sldId="1521"/>
        </pc:sldMkLst>
      </pc:sldChg>
      <pc:sldChg chg="del">
        <pc:chgData name="Aurelien Domont" userId="6da7715ce44349b3" providerId="LiveId" clId="{2349E0AC-9333-4F13-B2C9-E74906101359}" dt="2021-09-09T06:01:33.871" v="271" actId="47"/>
        <pc:sldMkLst>
          <pc:docMk/>
          <pc:sldMk cId="3014473461" sldId="1527"/>
        </pc:sldMkLst>
      </pc:sldChg>
      <pc:sldChg chg="del">
        <pc:chgData name="Aurelien Domont" userId="6da7715ce44349b3" providerId="LiveId" clId="{2349E0AC-9333-4F13-B2C9-E74906101359}" dt="2021-09-09T06:01:33.871" v="271" actId="47"/>
        <pc:sldMkLst>
          <pc:docMk/>
          <pc:sldMk cId="4130717619" sldId="1530"/>
        </pc:sldMkLst>
      </pc:sldChg>
      <pc:sldChg chg="add del">
        <pc:chgData name="Aurelien Domont" userId="6da7715ce44349b3" providerId="LiveId" clId="{2349E0AC-9333-4F13-B2C9-E74906101359}" dt="2022-12-07T03:09:02.623" v="5862"/>
        <pc:sldMkLst>
          <pc:docMk/>
          <pc:sldMk cId="1754585881" sldId="1598"/>
        </pc:sldMkLst>
      </pc:sldChg>
      <pc:sldChg chg="add del">
        <pc:chgData name="Aurelien Domont" userId="6da7715ce44349b3" providerId="LiveId" clId="{2349E0AC-9333-4F13-B2C9-E74906101359}" dt="2022-12-07T03:09:02.623" v="5862"/>
        <pc:sldMkLst>
          <pc:docMk/>
          <pc:sldMk cId="2853806433" sldId="1600"/>
        </pc:sldMkLst>
      </pc:sldChg>
      <pc:sldChg chg="del">
        <pc:chgData name="Aurelien Domont" userId="6da7715ce44349b3" providerId="LiveId" clId="{2349E0AC-9333-4F13-B2C9-E74906101359}" dt="2021-09-09T06:01:33.871" v="271" actId="47"/>
        <pc:sldMkLst>
          <pc:docMk/>
          <pc:sldMk cId="2815671749" sldId="1601"/>
        </pc:sldMkLst>
      </pc:sldChg>
      <pc:sldChg chg="add del">
        <pc:chgData name="Aurelien Domont" userId="6da7715ce44349b3" providerId="LiveId" clId="{2349E0AC-9333-4F13-B2C9-E74906101359}" dt="2022-12-07T03:09:02.623" v="5862"/>
        <pc:sldMkLst>
          <pc:docMk/>
          <pc:sldMk cId="1252826214" sldId="1711"/>
        </pc:sldMkLst>
      </pc:sldChg>
      <pc:sldChg chg="del">
        <pc:chgData name="Aurelien Domont" userId="6da7715ce44349b3" providerId="LiveId" clId="{2349E0AC-9333-4F13-B2C9-E74906101359}" dt="2021-09-09T05:44:08.117" v="34" actId="47"/>
        <pc:sldMkLst>
          <pc:docMk/>
          <pc:sldMk cId="317099162" sldId="1749"/>
        </pc:sldMkLst>
      </pc:sldChg>
      <pc:sldChg chg="del">
        <pc:chgData name="Aurelien Domont" userId="6da7715ce44349b3" providerId="LiveId" clId="{2349E0AC-9333-4F13-B2C9-E74906101359}" dt="2021-09-09T06:01:33.871" v="271" actId="47"/>
        <pc:sldMkLst>
          <pc:docMk/>
          <pc:sldMk cId="2603859724" sldId="1763"/>
        </pc:sldMkLst>
      </pc:sldChg>
      <pc:sldChg chg="del">
        <pc:chgData name="Aurelien Domont" userId="6da7715ce44349b3" providerId="LiveId" clId="{2349E0AC-9333-4F13-B2C9-E74906101359}" dt="2021-09-09T06:01:33.871" v="271" actId="47"/>
        <pc:sldMkLst>
          <pc:docMk/>
          <pc:sldMk cId="99687317" sldId="1764"/>
        </pc:sldMkLst>
      </pc:sldChg>
      <pc:sldChg chg="del">
        <pc:chgData name="Aurelien Domont" userId="6da7715ce44349b3" providerId="LiveId" clId="{2349E0AC-9333-4F13-B2C9-E74906101359}" dt="2021-09-09T06:01:33.871" v="271" actId="47"/>
        <pc:sldMkLst>
          <pc:docMk/>
          <pc:sldMk cId="3975128435" sldId="1765"/>
        </pc:sldMkLst>
      </pc:sldChg>
      <pc:sldChg chg="del">
        <pc:chgData name="Aurelien Domont" userId="6da7715ce44349b3" providerId="LiveId" clId="{2349E0AC-9333-4F13-B2C9-E74906101359}" dt="2021-09-09T06:01:33.871" v="271" actId="47"/>
        <pc:sldMkLst>
          <pc:docMk/>
          <pc:sldMk cId="3598292899" sldId="1770"/>
        </pc:sldMkLst>
      </pc:sldChg>
      <pc:sldChg chg="del">
        <pc:chgData name="Aurelien Domont" userId="6da7715ce44349b3" providerId="LiveId" clId="{2349E0AC-9333-4F13-B2C9-E74906101359}" dt="2021-09-09T06:01:33.871" v="271" actId="47"/>
        <pc:sldMkLst>
          <pc:docMk/>
          <pc:sldMk cId="1016381984" sldId="1771"/>
        </pc:sldMkLst>
      </pc:sldChg>
      <pc:sldChg chg="addSp delSp add del mod">
        <pc:chgData name="Aurelien Domont" userId="6da7715ce44349b3" providerId="LiveId" clId="{2349E0AC-9333-4F13-B2C9-E74906101359}" dt="2022-01-25T06:24:44.718" v="4658" actId="47"/>
        <pc:sldMkLst>
          <pc:docMk/>
          <pc:sldMk cId="1731686811" sldId="1837"/>
        </pc:sldMkLst>
        <pc:picChg chg="add del">
          <ac:chgData name="Aurelien Domont" userId="6da7715ce44349b3" providerId="LiveId" clId="{2349E0AC-9333-4F13-B2C9-E74906101359}" dt="2021-09-09T06:05:48.550" v="292" actId="478"/>
          <ac:picMkLst>
            <pc:docMk/>
            <pc:sldMk cId="1731686811" sldId="1837"/>
            <ac:picMk id="2" creationId="{8096B213-6C7B-42B5-AB6A-FE497971FC41}"/>
          </ac:picMkLst>
        </pc:picChg>
      </pc:sldChg>
      <pc:sldChg chg="addSp delSp modSp add del mod">
        <pc:chgData name="Aurelien Domont" userId="6da7715ce44349b3" providerId="LiveId" clId="{2349E0AC-9333-4F13-B2C9-E74906101359}" dt="2022-01-25T06:24:46.763" v="4660" actId="47"/>
        <pc:sldMkLst>
          <pc:docMk/>
          <pc:sldMk cId="889375178" sldId="1838"/>
        </pc:sldMkLst>
        <pc:spChg chg="add mod">
          <ac:chgData name="Aurelien Domont" userId="6da7715ce44349b3" providerId="LiveId" clId="{2349E0AC-9333-4F13-B2C9-E74906101359}" dt="2021-09-13T05:04:34.058" v="477" actId="571"/>
          <ac:spMkLst>
            <pc:docMk/>
            <pc:sldMk cId="889375178" sldId="1838"/>
            <ac:spMk id="17" creationId="{F1826678-76B6-45C0-A969-994CC69E6668}"/>
          </ac:spMkLst>
        </pc:spChg>
        <pc:spChg chg="mod topLvl">
          <ac:chgData name="Aurelien Domont" userId="6da7715ce44349b3" providerId="LiveId" clId="{2349E0AC-9333-4F13-B2C9-E74906101359}" dt="2021-09-13T05:04:39.772" v="490" actId="404"/>
          <ac:spMkLst>
            <pc:docMk/>
            <pc:sldMk cId="889375178" sldId="1838"/>
            <ac:spMk id="18" creationId="{BC3E0BAE-E4EF-4334-8BFD-318B286C24F2}"/>
          </ac:spMkLst>
        </pc:spChg>
        <pc:spChg chg="mod topLvl">
          <ac:chgData name="Aurelien Domont" userId="6da7715ce44349b3" providerId="LiveId" clId="{2349E0AC-9333-4F13-B2C9-E74906101359}" dt="2021-09-13T05:04:39.772" v="490" actId="404"/>
          <ac:spMkLst>
            <pc:docMk/>
            <pc:sldMk cId="889375178" sldId="1838"/>
            <ac:spMk id="19" creationId="{869551C0-25DF-403A-890D-97CE020A9F12}"/>
          </ac:spMkLst>
        </pc:spChg>
        <pc:spChg chg="mod topLvl">
          <ac:chgData name="Aurelien Domont" userId="6da7715ce44349b3" providerId="LiveId" clId="{2349E0AC-9333-4F13-B2C9-E74906101359}" dt="2021-09-13T05:04:39.772" v="490" actId="404"/>
          <ac:spMkLst>
            <pc:docMk/>
            <pc:sldMk cId="889375178" sldId="1838"/>
            <ac:spMk id="22" creationId="{56A08451-34F7-41B6-9E25-D863C521246F}"/>
          </ac:spMkLst>
        </pc:spChg>
        <pc:spChg chg="mod topLvl">
          <ac:chgData name="Aurelien Domont" userId="6da7715ce44349b3" providerId="LiveId" clId="{2349E0AC-9333-4F13-B2C9-E74906101359}" dt="2021-09-13T05:04:39.772" v="490" actId="404"/>
          <ac:spMkLst>
            <pc:docMk/>
            <pc:sldMk cId="889375178" sldId="1838"/>
            <ac:spMk id="23" creationId="{8C3B4796-37E9-4121-AE04-1AF5440B709B}"/>
          </ac:spMkLst>
        </pc:spChg>
        <pc:spChg chg="mod topLvl">
          <ac:chgData name="Aurelien Domont" userId="6da7715ce44349b3" providerId="LiveId" clId="{2349E0AC-9333-4F13-B2C9-E74906101359}" dt="2021-09-13T05:04:39.772" v="490" actId="404"/>
          <ac:spMkLst>
            <pc:docMk/>
            <pc:sldMk cId="889375178" sldId="1838"/>
            <ac:spMk id="24" creationId="{34BE031C-2EC1-40A9-990C-5DB6C74F7A80}"/>
          </ac:spMkLst>
        </pc:spChg>
        <pc:spChg chg="mod topLvl">
          <ac:chgData name="Aurelien Domont" userId="6da7715ce44349b3" providerId="LiveId" clId="{2349E0AC-9333-4F13-B2C9-E74906101359}" dt="2021-09-13T05:04:39.772" v="490" actId="404"/>
          <ac:spMkLst>
            <pc:docMk/>
            <pc:sldMk cId="889375178" sldId="1838"/>
            <ac:spMk id="27" creationId="{14B0F252-E628-4E0F-8C07-E7A8B51B1AA4}"/>
          </ac:spMkLst>
        </pc:spChg>
        <pc:spChg chg="mod topLvl">
          <ac:chgData name="Aurelien Domont" userId="6da7715ce44349b3" providerId="LiveId" clId="{2349E0AC-9333-4F13-B2C9-E74906101359}" dt="2021-09-13T05:04:39.772" v="490" actId="404"/>
          <ac:spMkLst>
            <pc:docMk/>
            <pc:sldMk cId="889375178" sldId="1838"/>
            <ac:spMk id="28" creationId="{77038E7B-92E8-422A-8D82-7C0C202D7BDE}"/>
          </ac:spMkLst>
        </pc:spChg>
        <pc:spChg chg="mod topLvl">
          <ac:chgData name="Aurelien Domont" userId="6da7715ce44349b3" providerId="LiveId" clId="{2349E0AC-9333-4F13-B2C9-E74906101359}" dt="2021-09-13T05:04:39.772" v="490" actId="404"/>
          <ac:spMkLst>
            <pc:docMk/>
            <pc:sldMk cId="889375178" sldId="1838"/>
            <ac:spMk id="29" creationId="{A9DDAAD0-E410-40C2-A7D1-FDF0DBC6205F}"/>
          </ac:spMkLst>
        </pc:spChg>
        <pc:spChg chg="mod">
          <ac:chgData name="Aurelien Domont" userId="6da7715ce44349b3" providerId="LiveId" clId="{2349E0AC-9333-4F13-B2C9-E74906101359}" dt="2021-09-13T05:04:35.540" v="481" actId="1076"/>
          <ac:spMkLst>
            <pc:docMk/>
            <pc:sldMk cId="889375178" sldId="1838"/>
            <ac:spMk id="30" creationId="{94B73FCF-28F3-4E86-85DA-20AF3B8D9B6C}"/>
          </ac:spMkLst>
        </pc:spChg>
        <pc:grpChg chg="add del mod">
          <ac:chgData name="Aurelien Domont" userId="6da7715ce44349b3" providerId="LiveId" clId="{2349E0AC-9333-4F13-B2C9-E74906101359}" dt="2021-09-13T05:04:38.271" v="487" actId="164"/>
          <ac:grpSpMkLst>
            <pc:docMk/>
            <pc:sldMk cId="889375178" sldId="1838"/>
            <ac:grpSpMk id="4" creationId="{6A2C8F7C-E246-48B5-A80F-835DAEB4F2B9}"/>
          </ac:grpSpMkLst>
        </pc:grpChg>
        <pc:picChg chg="add del">
          <ac:chgData name="Aurelien Domont" userId="6da7715ce44349b3" providerId="LiveId" clId="{2349E0AC-9333-4F13-B2C9-E74906101359}" dt="2021-09-09T06:05:47.718" v="291" actId="478"/>
          <ac:picMkLst>
            <pc:docMk/>
            <pc:sldMk cId="889375178" sldId="1838"/>
            <ac:picMk id="2" creationId="{FD962C3B-EB62-4D3F-B1EA-BA1CE63C555E}"/>
          </ac:picMkLst>
        </pc:picChg>
      </pc:sldChg>
      <pc:sldChg chg="addSp delSp add del mod">
        <pc:chgData name="Aurelien Domont" userId="6da7715ce44349b3" providerId="LiveId" clId="{2349E0AC-9333-4F13-B2C9-E74906101359}" dt="2022-01-25T06:24:48.394" v="4662" actId="47"/>
        <pc:sldMkLst>
          <pc:docMk/>
          <pc:sldMk cId="3806977209" sldId="1839"/>
        </pc:sldMkLst>
        <pc:picChg chg="add del">
          <ac:chgData name="Aurelien Domont" userId="6da7715ce44349b3" providerId="LiveId" clId="{2349E0AC-9333-4F13-B2C9-E74906101359}" dt="2021-09-09T06:05:47.187" v="289" actId="478"/>
          <ac:picMkLst>
            <pc:docMk/>
            <pc:sldMk cId="3806977209" sldId="1839"/>
            <ac:picMk id="2" creationId="{3CC147DF-F638-4250-82E6-C54A7FC02A93}"/>
          </ac:picMkLst>
        </pc:picChg>
      </pc:sldChg>
      <pc:sldChg chg="addSp delSp modSp add del mod ord">
        <pc:chgData name="Aurelien Domont" userId="6da7715ce44349b3" providerId="LiveId" clId="{2349E0AC-9333-4F13-B2C9-E74906101359}" dt="2022-01-25T06:24:45.760" v="4659" actId="47"/>
        <pc:sldMkLst>
          <pc:docMk/>
          <pc:sldMk cId="1104121548" sldId="1840"/>
        </pc:sldMkLst>
        <pc:spChg chg="mod">
          <ac:chgData name="Aurelien Domont" userId="6da7715ce44349b3" providerId="LiveId" clId="{2349E0AC-9333-4F13-B2C9-E74906101359}" dt="2021-09-09T05:58:02.705" v="251" actId="1036"/>
          <ac:spMkLst>
            <pc:docMk/>
            <pc:sldMk cId="1104121548" sldId="1840"/>
            <ac:spMk id="33" creationId="{DF4A6C6C-6E92-41F9-B075-06FF335A0BE5}"/>
          </ac:spMkLst>
        </pc:spChg>
        <pc:spChg chg="mod">
          <ac:chgData name="Aurelien Domont" userId="6da7715ce44349b3" providerId="LiveId" clId="{2349E0AC-9333-4F13-B2C9-E74906101359}" dt="2021-09-09T05:58:02.705" v="251" actId="1036"/>
          <ac:spMkLst>
            <pc:docMk/>
            <pc:sldMk cId="1104121548" sldId="1840"/>
            <ac:spMk id="37" creationId="{F84E2F7A-6EEF-4BD1-8C1E-B3F4B5AE445E}"/>
          </ac:spMkLst>
        </pc:spChg>
        <pc:picChg chg="add del">
          <ac:chgData name="Aurelien Domont" userId="6da7715ce44349b3" providerId="LiveId" clId="{2349E0AC-9333-4F13-B2C9-E74906101359}" dt="2021-09-09T06:05:46.624" v="287" actId="478"/>
          <ac:picMkLst>
            <pc:docMk/>
            <pc:sldMk cId="1104121548" sldId="1840"/>
            <ac:picMk id="2" creationId="{3BDA960F-41D8-432D-A4F6-9AE6234CDB1C}"/>
          </ac:picMkLst>
        </pc:picChg>
      </pc:sldChg>
      <pc:sldChg chg="modSp add del mod">
        <pc:chgData name="Aurelien Domont" userId="6da7715ce44349b3" providerId="LiveId" clId="{2349E0AC-9333-4F13-B2C9-E74906101359}" dt="2022-01-25T06:24:53.924" v="4665" actId="47"/>
        <pc:sldMkLst>
          <pc:docMk/>
          <pc:sldMk cId="919636543" sldId="1841"/>
        </pc:sldMkLst>
        <pc:spChg chg="mod">
          <ac:chgData name="Aurelien Domont" userId="6da7715ce44349b3" providerId="LiveId" clId="{2349E0AC-9333-4F13-B2C9-E74906101359}" dt="2021-09-13T05:05:05.915" v="498" actId="20577"/>
          <ac:spMkLst>
            <pc:docMk/>
            <pc:sldMk cId="919636543" sldId="1841"/>
            <ac:spMk id="16" creationId="{6C2BB713-9637-4B9B-938F-E9768876782A}"/>
          </ac:spMkLst>
        </pc:spChg>
        <pc:spChg chg="mod">
          <ac:chgData name="Aurelien Domont" userId="6da7715ce44349b3" providerId="LiveId" clId="{2349E0AC-9333-4F13-B2C9-E74906101359}" dt="2021-09-13T06:05:14.217" v="787" actId="115"/>
          <ac:spMkLst>
            <pc:docMk/>
            <pc:sldMk cId="919636543" sldId="1841"/>
            <ac:spMk id="30" creationId="{94B73FCF-28F3-4E86-85DA-20AF3B8D9B6C}"/>
          </ac:spMkLst>
        </pc:spChg>
      </pc:sldChg>
      <pc:sldChg chg="addSp delSp modSp add del mod">
        <pc:chgData name="Aurelien Domont" userId="6da7715ce44349b3" providerId="LiveId" clId="{2349E0AC-9333-4F13-B2C9-E74906101359}" dt="2022-01-25T06:25:05.636" v="4667" actId="47"/>
        <pc:sldMkLst>
          <pc:docMk/>
          <pc:sldMk cId="2051299408" sldId="1844"/>
        </pc:sldMkLst>
        <pc:spChg chg="add mod">
          <ac:chgData name="Aurelien Domont" userId="6da7715ce44349b3" providerId="LiveId" clId="{2349E0AC-9333-4F13-B2C9-E74906101359}" dt="2021-09-13T06:58:18.836" v="1438" actId="1076"/>
          <ac:spMkLst>
            <pc:docMk/>
            <pc:sldMk cId="2051299408" sldId="1844"/>
            <ac:spMk id="7" creationId="{1011ABFB-AE74-4E3F-AD2A-B71B4D1DCFFE}"/>
          </ac:spMkLst>
        </pc:spChg>
        <pc:spChg chg="del">
          <ac:chgData name="Aurelien Domont" userId="6da7715ce44349b3" providerId="LiveId" clId="{2349E0AC-9333-4F13-B2C9-E74906101359}" dt="2021-09-13T06:17:58.019" v="937" actId="478"/>
          <ac:spMkLst>
            <pc:docMk/>
            <pc:sldMk cId="2051299408" sldId="1844"/>
            <ac:spMk id="8" creationId="{AB822850-31C4-4825-8060-42484E950D33}"/>
          </ac:spMkLst>
        </pc:spChg>
        <pc:spChg chg="del">
          <ac:chgData name="Aurelien Domont" userId="6da7715ce44349b3" providerId="LiveId" clId="{2349E0AC-9333-4F13-B2C9-E74906101359}" dt="2021-09-13T06:17:58.019" v="937" actId="478"/>
          <ac:spMkLst>
            <pc:docMk/>
            <pc:sldMk cId="2051299408" sldId="1844"/>
            <ac:spMk id="9" creationId="{E1E81CD1-DF53-4335-9A67-04333923696E}"/>
          </ac:spMkLst>
        </pc:spChg>
        <pc:spChg chg="add mod">
          <ac:chgData name="Aurelien Domont" userId="6da7715ce44349b3" providerId="LiveId" clId="{2349E0AC-9333-4F13-B2C9-E74906101359}" dt="2021-09-13T06:58:18.836" v="1438" actId="1076"/>
          <ac:spMkLst>
            <pc:docMk/>
            <pc:sldMk cId="2051299408" sldId="1844"/>
            <ac:spMk id="10" creationId="{AEFE6601-5234-484E-9432-5673F630DD4B}"/>
          </ac:spMkLst>
        </pc:spChg>
        <pc:spChg chg="del">
          <ac:chgData name="Aurelien Domont" userId="6da7715ce44349b3" providerId="LiveId" clId="{2349E0AC-9333-4F13-B2C9-E74906101359}" dt="2021-09-13T06:17:58.019" v="937" actId="478"/>
          <ac:spMkLst>
            <pc:docMk/>
            <pc:sldMk cId="2051299408" sldId="1844"/>
            <ac:spMk id="12" creationId="{A911761E-7FE3-4FD8-8F34-CBB1632C1A94}"/>
          </ac:spMkLst>
        </pc:spChg>
        <pc:spChg chg="del">
          <ac:chgData name="Aurelien Domont" userId="6da7715ce44349b3" providerId="LiveId" clId="{2349E0AC-9333-4F13-B2C9-E74906101359}" dt="2021-09-13T06:17:58.019" v="937" actId="478"/>
          <ac:spMkLst>
            <pc:docMk/>
            <pc:sldMk cId="2051299408" sldId="1844"/>
            <ac:spMk id="14" creationId="{6FFC631C-E47E-46F9-B6E1-10C22B75BDA8}"/>
          </ac:spMkLst>
        </pc:spChg>
        <pc:spChg chg="add del mod">
          <ac:chgData name="Aurelien Domont" userId="6da7715ce44349b3" providerId="LiveId" clId="{2349E0AC-9333-4F13-B2C9-E74906101359}" dt="2021-09-13T06:53:49.387" v="1144" actId="478"/>
          <ac:spMkLst>
            <pc:docMk/>
            <pc:sldMk cId="2051299408" sldId="1844"/>
            <ac:spMk id="15" creationId="{BCE5CA50-BF41-416E-A6F6-506BA459198B}"/>
          </ac:spMkLst>
        </pc:spChg>
        <pc:spChg chg="mod">
          <ac:chgData name="Aurelien Domont" userId="6da7715ce44349b3" providerId="LiveId" clId="{2349E0AC-9333-4F13-B2C9-E74906101359}" dt="2021-09-13T06:55:35.194" v="1152" actId="20577"/>
          <ac:spMkLst>
            <pc:docMk/>
            <pc:sldMk cId="2051299408" sldId="1844"/>
            <ac:spMk id="16" creationId="{6C2BB713-9637-4B9B-938F-E9768876782A}"/>
          </ac:spMkLst>
        </pc:spChg>
        <pc:spChg chg="del">
          <ac:chgData name="Aurelien Domont" userId="6da7715ce44349b3" providerId="LiveId" clId="{2349E0AC-9333-4F13-B2C9-E74906101359}" dt="2021-09-13T06:17:58.019" v="937" actId="478"/>
          <ac:spMkLst>
            <pc:docMk/>
            <pc:sldMk cId="2051299408" sldId="1844"/>
            <ac:spMk id="17" creationId="{9A09880F-011B-4E73-AC69-69E89422AFC0}"/>
          </ac:spMkLst>
        </pc:spChg>
        <pc:spChg chg="del">
          <ac:chgData name="Aurelien Domont" userId="6da7715ce44349b3" providerId="LiveId" clId="{2349E0AC-9333-4F13-B2C9-E74906101359}" dt="2021-09-13T06:17:58.019" v="937" actId="478"/>
          <ac:spMkLst>
            <pc:docMk/>
            <pc:sldMk cId="2051299408" sldId="1844"/>
            <ac:spMk id="18" creationId="{1DD5B661-5905-4EEF-90A0-84A539DE9E9F}"/>
          </ac:spMkLst>
        </pc:spChg>
        <pc:spChg chg="del">
          <ac:chgData name="Aurelien Domont" userId="6da7715ce44349b3" providerId="LiveId" clId="{2349E0AC-9333-4F13-B2C9-E74906101359}" dt="2021-09-13T06:17:58.019" v="937" actId="478"/>
          <ac:spMkLst>
            <pc:docMk/>
            <pc:sldMk cId="2051299408" sldId="1844"/>
            <ac:spMk id="19" creationId="{6216820C-ADCD-4515-A1B4-13BD93421E17}"/>
          </ac:spMkLst>
        </pc:spChg>
        <pc:spChg chg="del">
          <ac:chgData name="Aurelien Domont" userId="6da7715ce44349b3" providerId="LiveId" clId="{2349E0AC-9333-4F13-B2C9-E74906101359}" dt="2021-09-13T06:17:58.019" v="937" actId="478"/>
          <ac:spMkLst>
            <pc:docMk/>
            <pc:sldMk cId="2051299408" sldId="1844"/>
            <ac:spMk id="20" creationId="{8F55F59D-3254-4797-AB88-18BDAF2D1CF6}"/>
          </ac:spMkLst>
        </pc:spChg>
        <pc:grpChg chg="del">
          <ac:chgData name="Aurelien Domont" userId="6da7715ce44349b3" providerId="LiveId" clId="{2349E0AC-9333-4F13-B2C9-E74906101359}" dt="2021-09-13T06:17:58.019" v="937" actId="478"/>
          <ac:grpSpMkLst>
            <pc:docMk/>
            <pc:sldMk cId="2051299408" sldId="1844"/>
            <ac:grpSpMk id="15" creationId="{DDB47B36-C676-4890-81B9-3D338AF4FE1B}"/>
          </ac:grpSpMkLst>
        </pc:grpChg>
        <pc:grpChg chg="del">
          <ac:chgData name="Aurelien Domont" userId="6da7715ce44349b3" providerId="LiveId" clId="{2349E0AC-9333-4F13-B2C9-E74906101359}" dt="2021-09-13T06:17:58.019" v="937" actId="478"/>
          <ac:grpSpMkLst>
            <pc:docMk/>
            <pc:sldMk cId="2051299408" sldId="1844"/>
            <ac:grpSpMk id="30" creationId="{AA1FA20D-EB23-44D8-AC87-4A2A741AE1AA}"/>
          </ac:grpSpMkLst>
        </pc:grpChg>
        <pc:picChg chg="add mod ord">
          <ac:chgData name="Aurelien Domont" userId="6da7715ce44349b3" providerId="LiveId" clId="{2349E0AC-9333-4F13-B2C9-E74906101359}" dt="2021-09-13T06:58:18.836" v="1438" actId="1076"/>
          <ac:picMkLst>
            <pc:docMk/>
            <pc:sldMk cId="2051299408" sldId="1844"/>
            <ac:picMk id="2" creationId="{7B3383E0-E8F7-4812-A1B8-75B0F54F6A56}"/>
          </ac:picMkLst>
        </pc:picChg>
        <pc:picChg chg="add del mod">
          <ac:chgData name="Aurelien Domont" userId="6da7715ce44349b3" providerId="LiveId" clId="{2349E0AC-9333-4F13-B2C9-E74906101359}" dt="2021-09-13T06:44:48.491" v="1021" actId="478"/>
          <ac:picMkLst>
            <pc:docMk/>
            <pc:sldMk cId="2051299408" sldId="1844"/>
            <ac:picMk id="5" creationId="{E6AC648F-89AC-410D-BDA9-D944A3F16D51}"/>
          </ac:picMkLst>
        </pc:picChg>
        <pc:picChg chg="add mod">
          <ac:chgData name="Aurelien Domont" userId="6da7715ce44349b3" providerId="LiveId" clId="{2349E0AC-9333-4F13-B2C9-E74906101359}" dt="2021-09-13T06:58:18.836" v="1438" actId="1076"/>
          <ac:picMkLst>
            <pc:docMk/>
            <pc:sldMk cId="2051299408" sldId="1844"/>
            <ac:picMk id="6" creationId="{32F73633-4336-48C2-B986-969E3D8A1351}"/>
          </ac:picMkLst>
        </pc:picChg>
        <pc:picChg chg="add del mod">
          <ac:chgData name="Aurelien Domont" userId="6da7715ce44349b3" providerId="LiveId" clId="{2349E0AC-9333-4F13-B2C9-E74906101359}" dt="2021-09-13T06:45:29.079" v="1042" actId="478"/>
          <ac:picMkLst>
            <pc:docMk/>
            <pc:sldMk cId="2051299408" sldId="1844"/>
            <ac:picMk id="8" creationId="{26D78348-B776-4B40-91B5-2B037896AAB1}"/>
          </ac:picMkLst>
        </pc:picChg>
        <pc:picChg chg="add mod">
          <ac:chgData name="Aurelien Domont" userId="6da7715ce44349b3" providerId="LiveId" clId="{2349E0AC-9333-4F13-B2C9-E74906101359}" dt="2021-09-13T06:58:18.836" v="1438" actId="1076"/>
          <ac:picMkLst>
            <pc:docMk/>
            <pc:sldMk cId="2051299408" sldId="1844"/>
            <ac:picMk id="9" creationId="{936EA75A-6C63-4EFA-8687-05688661B938}"/>
          </ac:picMkLst>
        </pc:picChg>
        <pc:picChg chg="add mod ord">
          <ac:chgData name="Aurelien Domont" userId="6da7715ce44349b3" providerId="LiveId" clId="{2349E0AC-9333-4F13-B2C9-E74906101359}" dt="2021-09-13T06:58:18.836" v="1438" actId="1076"/>
          <ac:picMkLst>
            <pc:docMk/>
            <pc:sldMk cId="2051299408" sldId="1844"/>
            <ac:picMk id="11" creationId="{295357B5-B446-4DE0-9464-7E49F08AA96C}"/>
          </ac:picMkLst>
        </pc:picChg>
        <pc:picChg chg="add del mod">
          <ac:chgData name="Aurelien Domont" userId="6da7715ce44349b3" providerId="LiveId" clId="{2349E0AC-9333-4F13-B2C9-E74906101359}" dt="2021-09-13T06:53:49.387" v="1144" actId="478"/>
          <ac:picMkLst>
            <pc:docMk/>
            <pc:sldMk cId="2051299408" sldId="1844"/>
            <ac:picMk id="14" creationId="{270C3430-B572-4369-AAE8-C8576D7612D5}"/>
          </ac:picMkLst>
        </pc:picChg>
        <pc:picChg chg="add del mod">
          <ac:chgData name="Aurelien Domont" userId="6da7715ce44349b3" providerId="LiveId" clId="{2349E0AC-9333-4F13-B2C9-E74906101359}" dt="2021-09-13T06:53:49.661" v="1145" actId="478"/>
          <ac:picMkLst>
            <pc:docMk/>
            <pc:sldMk cId="2051299408" sldId="1844"/>
            <ac:picMk id="17" creationId="{F455CA9E-8D53-4032-9AAD-6C4B21BE4D4A}"/>
          </ac:picMkLst>
        </pc:picChg>
        <pc:picChg chg="add mod">
          <ac:chgData name="Aurelien Domont" userId="6da7715ce44349b3" providerId="LiveId" clId="{2349E0AC-9333-4F13-B2C9-E74906101359}" dt="2021-09-13T07:24:17.677" v="1891"/>
          <ac:picMkLst>
            <pc:docMk/>
            <pc:sldMk cId="2051299408" sldId="1844"/>
            <ac:picMk id="18" creationId="{DD338F37-8F97-4976-AC92-9458A7F2112E}"/>
          </ac:picMkLst>
        </pc:picChg>
      </pc:sldChg>
      <pc:sldChg chg="modSp add del mod">
        <pc:chgData name="Aurelien Domont" userId="6da7715ce44349b3" providerId="LiveId" clId="{2349E0AC-9333-4F13-B2C9-E74906101359}" dt="2021-09-13T07:00:52.164" v="1472" actId="47"/>
        <pc:sldMkLst>
          <pc:docMk/>
          <pc:sldMk cId="875473973" sldId="1845"/>
        </pc:sldMkLst>
        <pc:spChg chg="mod">
          <ac:chgData name="Aurelien Domont" userId="6da7715ce44349b3" providerId="LiveId" clId="{2349E0AC-9333-4F13-B2C9-E74906101359}" dt="2021-09-13T05:08:18.119" v="531" actId="27636"/>
          <ac:spMkLst>
            <pc:docMk/>
            <pc:sldMk cId="875473973" sldId="1845"/>
            <ac:spMk id="16" creationId="{6C2BB713-9637-4B9B-938F-E9768876782A}"/>
          </ac:spMkLst>
        </pc:spChg>
      </pc:sldChg>
      <pc:sldChg chg="modSp add del mod">
        <pc:chgData name="Aurelien Domont" userId="6da7715ce44349b3" providerId="LiveId" clId="{2349E0AC-9333-4F13-B2C9-E74906101359}" dt="2022-01-25T06:23:34.648" v="4638" actId="47"/>
        <pc:sldMkLst>
          <pc:docMk/>
          <pc:sldMk cId="342613520" sldId="1881"/>
        </pc:sldMkLst>
        <pc:spChg chg="mod">
          <ac:chgData name="Aurelien Domont" userId="6da7715ce44349b3" providerId="LiveId" clId="{2349E0AC-9333-4F13-B2C9-E74906101359}" dt="2022-01-25T06:22:43.308" v="4637"/>
          <ac:spMkLst>
            <pc:docMk/>
            <pc:sldMk cId="342613520" sldId="1881"/>
            <ac:spMk id="2" creationId="{46B55DDA-1775-480D-A3BD-788B119EF109}"/>
          </ac:spMkLst>
        </pc:spChg>
        <pc:spChg chg="mod">
          <ac:chgData name="Aurelien Domont" userId="6da7715ce44349b3" providerId="LiveId" clId="{2349E0AC-9333-4F13-B2C9-E74906101359}" dt="2021-09-13T07:21:42.961" v="1730" actId="108"/>
          <ac:spMkLst>
            <pc:docMk/>
            <pc:sldMk cId="342613520" sldId="1881"/>
            <ac:spMk id="10" creationId="{8440315D-180C-4707-9214-248D8EC10E01}"/>
          </ac:spMkLst>
        </pc:spChg>
      </pc:sldChg>
      <pc:sldChg chg="addSp delSp modSp add del mod">
        <pc:chgData name="Aurelien Domont" userId="6da7715ce44349b3" providerId="LiveId" clId="{2349E0AC-9333-4F13-B2C9-E74906101359}" dt="2022-01-25T06:24:47.595" v="4661" actId="47"/>
        <pc:sldMkLst>
          <pc:docMk/>
          <pc:sldMk cId="3495023181" sldId="1885"/>
        </pc:sldMkLst>
        <pc:spChg chg="mod">
          <ac:chgData name="Aurelien Domont" userId="6da7715ce44349b3" providerId="LiveId" clId="{2349E0AC-9333-4F13-B2C9-E74906101359}" dt="2021-09-13T06:07:41.422" v="795" actId="207"/>
          <ac:spMkLst>
            <pc:docMk/>
            <pc:sldMk cId="3495023181" sldId="1885"/>
            <ac:spMk id="19" creationId="{869551C0-25DF-403A-890D-97CE020A9F12}"/>
          </ac:spMkLst>
        </pc:spChg>
        <pc:spChg chg="mod">
          <ac:chgData name="Aurelien Domont" userId="6da7715ce44349b3" providerId="LiveId" clId="{2349E0AC-9333-4F13-B2C9-E74906101359}" dt="2021-09-13T06:07:34.578" v="793" actId="108"/>
          <ac:spMkLst>
            <pc:docMk/>
            <pc:sldMk cId="3495023181" sldId="1885"/>
            <ac:spMk id="20" creationId="{7DD7E35F-8B62-4955-9B3B-370BA2CF66AC}"/>
          </ac:spMkLst>
        </pc:spChg>
        <pc:spChg chg="mod">
          <ac:chgData name="Aurelien Domont" userId="6da7715ce44349b3" providerId="LiveId" clId="{2349E0AC-9333-4F13-B2C9-E74906101359}" dt="2021-09-13T06:07:41.422" v="795" actId="207"/>
          <ac:spMkLst>
            <pc:docMk/>
            <pc:sldMk cId="3495023181" sldId="1885"/>
            <ac:spMk id="24" creationId="{34BE031C-2EC1-40A9-990C-5DB6C74F7A80}"/>
          </ac:spMkLst>
        </pc:spChg>
        <pc:spChg chg="mod">
          <ac:chgData name="Aurelien Domont" userId="6da7715ce44349b3" providerId="LiveId" clId="{2349E0AC-9333-4F13-B2C9-E74906101359}" dt="2021-09-13T06:07:37.499" v="794" actId="108"/>
          <ac:spMkLst>
            <pc:docMk/>
            <pc:sldMk cId="3495023181" sldId="1885"/>
            <ac:spMk id="25" creationId="{DEECD197-3636-417D-BDEF-DA8CC209C3A7}"/>
          </ac:spMkLst>
        </pc:spChg>
        <pc:picChg chg="add del">
          <ac:chgData name="Aurelien Domont" userId="6da7715ce44349b3" providerId="LiveId" clId="{2349E0AC-9333-4F13-B2C9-E74906101359}" dt="2021-09-09T06:05:47.412" v="290" actId="478"/>
          <ac:picMkLst>
            <pc:docMk/>
            <pc:sldMk cId="3495023181" sldId="1885"/>
            <ac:picMk id="2" creationId="{E1AD4CB8-9BFB-4520-BDE7-18C9172303CB}"/>
          </ac:picMkLst>
        </pc:picChg>
      </pc:sldChg>
      <pc:sldChg chg="addSp delSp modSp add del mod">
        <pc:chgData name="Aurelien Domont" userId="6da7715ce44349b3" providerId="LiveId" clId="{2349E0AC-9333-4F13-B2C9-E74906101359}" dt="2022-01-25T06:24:49.357" v="4663" actId="47"/>
        <pc:sldMkLst>
          <pc:docMk/>
          <pc:sldMk cId="1514729160" sldId="1886"/>
        </pc:sldMkLst>
        <pc:spChg chg="mod">
          <ac:chgData name="Aurelien Domont" userId="6da7715ce44349b3" providerId="LiveId" clId="{2349E0AC-9333-4F13-B2C9-E74906101359}" dt="2021-09-13T04:43:03.679" v="300" actId="14100"/>
          <ac:spMkLst>
            <pc:docMk/>
            <pc:sldMk cId="1514729160" sldId="1886"/>
            <ac:spMk id="16" creationId="{6C2BB713-9637-4B9B-938F-E9768876782A}"/>
          </ac:spMkLst>
        </pc:spChg>
        <pc:spChg chg="mod">
          <ac:chgData name="Aurelien Domont" userId="6da7715ce44349b3" providerId="LiveId" clId="{2349E0AC-9333-4F13-B2C9-E74906101359}" dt="2021-09-13T06:07:18.552" v="791" actId="207"/>
          <ac:spMkLst>
            <pc:docMk/>
            <pc:sldMk cId="1514729160" sldId="1886"/>
            <ac:spMk id="19" creationId="{869551C0-25DF-403A-890D-97CE020A9F12}"/>
          </ac:spMkLst>
        </pc:spChg>
        <pc:spChg chg="mod">
          <ac:chgData name="Aurelien Domont" userId="6da7715ce44349b3" providerId="LiveId" clId="{2349E0AC-9333-4F13-B2C9-E74906101359}" dt="2021-09-13T06:07:23.358" v="792" actId="207"/>
          <ac:spMkLst>
            <pc:docMk/>
            <pc:sldMk cId="1514729160" sldId="1886"/>
            <ac:spMk id="20" creationId="{7DD7E35F-8B62-4955-9B3B-370BA2CF66AC}"/>
          </ac:spMkLst>
        </pc:spChg>
        <pc:spChg chg="mod">
          <ac:chgData name="Aurelien Domont" userId="6da7715ce44349b3" providerId="LiveId" clId="{2349E0AC-9333-4F13-B2C9-E74906101359}" dt="2021-09-13T06:07:18.552" v="791" actId="207"/>
          <ac:spMkLst>
            <pc:docMk/>
            <pc:sldMk cId="1514729160" sldId="1886"/>
            <ac:spMk id="24" creationId="{34BE031C-2EC1-40A9-990C-5DB6C74F7A80}"/>
          </ac:spMkLst>
        </pc:spChg>
        <pc:spChg chg="mod">
          <ac:chgData name="Aurelien Domont" userId="6da7715ce44349b3" providerId="LiveId" clId="{2349E0AC-9333-4F13-B2C9-E74906101359}" dt="2021-09-13T06:07:23.358" v="792" actId="207"/>
          <ac:spMkLst>
            <pc:docMk/>
            <pc:sldMk cId="1514729160" sldId="1886"/>
            <ac:spMk id="25" creationId="{DEECD197-3636-417D-BDEF-DA8CC209C3A7}"/>
          </ac:spMkLst>
        </pc:spChg>
        <pc:picChg chg="add del">
          <ac:chgData name="Aurelien Domont" userId="6da7715ce44349b3" providerId="LiveId" clId="{2349E0AC-9333-4F13-B2C9-E74906101359}" dt="2021-09-09T06:05:46.915" v="288" actId="478"/>
          <ac:picMkLst>
            <pc:docMk/>
            <pc:sldMk cId="1514729160" sldId="1886"/>
            <ac:picMk id="2" creationId="{2654BD7A-F89A-4818-855A-4C2FE46BBE34}"/>
          </ac:picMkLst>
        </pc:picChg>
      </pc:sldChg>
      <pc:sldChg chg="modSp add del mod">
        <pc:chgData name="Aurelien Domont" userId="6da7715ce44349b3" providerId="LiveId" clId="{2349E0AC-9333-4F13-B2C9-E74906101359}" dt="2021-09-13T07:00:53.146" v="1473" actId="47"/>
        <pc:sldMkLst>
          <pc:docMk/>
          <pc:sldMk cId="892800185" sldId="1887"/>
        </pc:sldMkLst>
        <pc:spChg chg="mod">
          <ac:chgData name="Aurelien Domont" userId="6da7715ce44349b3" providerId="LiveId" clId="{2349E0AC-9333-4F13-B2C9-E74906101359}" dt="2021-09-13T06:07:02.323" v="789" actId="207"/>
          <ac:spMkLst>
            <pc:docMk/>
            <pc:sldMk cId="892800185" sldId="1887"/>
            <ac:spMk id="19" creationId="{869551C0-25DF-403A-890D-97CE020A9F12}"/>
          </ac:spMkLst>
        </pc:spChg>
        <pc:spChg chg="mod">
          <ac:chgData name="Aurelien Domont" userId="6da7715ce44349b3" providerId="LiveId" clId="{2349E0AC-9333-4F13-B2C9-E74906101359}" dt="2021-09-13T06:07:07.320" v="790" actId="207"/>
          <ac:spMkLst>
            <pc:docMk/>
            <pc:sldMk cId="892800185" sldId="1887"/>
            <ac:spMk id="20" creationId="{7DD7E35F-8B62-4955-9B3B-370BA2CF66AC}"/>
          </ac:spMkLst>
        </pc:spChg>
        <pc:spChg chg="mod">
          <ac:chgData name="Aurelien Domont" userId="6da7715ce44349b3" providerId="LiveId" clId="{2349E0AC-9333-4F13-B2C9-E74906101359}" dt="2021-09-13T06:07:02.323" v="789" actId="207"/>
          <ac:spMkLst>
            <pc:docMk/>
            <pc:sldMk cId="892800185" sldId="1887"/>
            <ac:spMk id="24" creationId="{34BE031C-2EC1-40A9-990C-5DB6C74F7A80}"/>
          </ac:spMkLst>
        </pc:spChg>
        <pc:spChg chg="mod">
          <ac:chgData name="Aurelien Domont" userId="6da7715ce44349b3" providerId="LiveId" clId="{2349E0AC-9333-4F13-B2C9-E74906101359}" dt="2021-09-13T06:07:07.320" v="790" actId="207"/>
          <ac:spMkLst>
            <pc:docMk/>
            <pc:sldMk cId="892800185" sldId="1887"/>
            <ac:spMk id="25" creationId="{DEECD197-3636-417D-BDEF-DA8CC209C3A7}"/>
          </ac:spMkLst>
        </pc:spChg>
      </pc:sldChg>
      <pc:sldChg chg="modSp add del mod">
        <pc:chgData name="Aurelien Domont" userId="6da7715ce44349b3" providerId="LiveId" clId="{2349E0AC-9333-4F13-B2C9-E74906101359}" dt="2022-01-25T06:24:54.783" v="4666" actId="47"/>
        <pc:sldMkLst>
          <pc:docMk/>
          <pc:sldMk cId="144941444" sldId="1888"/>
        </pc:sldMkLst>
        <pc:spChg chg="mod">
          <ac:chgData name="Aurelien Domont" userId="6da7715ce44349b3" providerId="LiveId" clId="{2349E0AC-9333-4F13-B2C9-E74906101359}" dt="2021-09-13T05:05:39.085" v="499"/>
          <ac:spMkLst>
            <pc:docMk/>
            <pc:sldMk cId="144941444" sldId="1888"/>
            <ac:spMk id="16" creationId="{6C2BB713-9637-4B9B-938F-E9768876782A}"/>
          </ac:spMkLst>
        </pc:spChg>
        <pc:spChg chg="mod">
          <ac:chgData name="Aurelien Domont" userId="6da7715ce44349b3" providerId="LiveId" clId="{2349E0AC-9333-4F13-B2C9-E74906101359}" dt="2021-09-13T06:05:19.306" v="788" actId="115"/>
          <ac:spMkLst>
            <pc:docMk/>
            <pc:sldMk cId="144941444" sldId="1888"/>
            <ac:spMk id="30" creationId="{94B73FCF-28F3-4E86-85DA-20AF3B8D9B6C}"/>
          </ac:spMkLst>
        </pc:spChg>
      </pc:sldChg>
      <pc:sldChg chg="modSp add del mod">
        <pc:chgData name="Aurelien Domont" userId="6da7715ce44349b3" providerId="LiveId" clId="{2349E0AC-9333-4F13-B2C9-E74906101359}" dt="2022-01-25T06:25:12.603" v="4670" actId="47"/>
        <pc:sldMkLst>
          <pc:docMk/>
          <pc:sldMk cId="1318092047" sldId="1893"/>
        </pc:sldMkLst>
        <pc:spChg chg="mod">
          <ac:chgData name="Aurelien Domont" userId="6da7715ce44349b3" providerId="LiveId" clId="{2349E0AC-9333-4F13-B2C9-E74906101359}" dt="2021-09-13T07:11:32.868" v="1514" actId="20577"/>
          <ac:spMkLst>
            <pc:docMk/>
            <pc:sldMk cId="1318092047" sldId="1893"/>
            <ac:spMk id="3" creationId="{AF0E7D2C-C905-4E3E-97B5-FEBCBC67B565}"/>
          </ac:spMkLst>
        </pc:spChg>
      </pc:sldChg>
      <pc:sldChg chg="addSp delSp modSp add del mod">
        <pc:chgData name="Aurelien Domont" userId="6da7715ce44349b3" providerId="LiveId" clId="{2349E0AC-9333-4F13-B2C9-E74906101359}" dt="2022-01-25T06:25:14.301" v="4672" actId="47"/>
        <pc:sldMkLst>
          <pc:docMk/>
          <pc:sldMk cId="1117051054" sldId="1895"/>
        </pc:sldMkLst>
        <pc:spChg chg="mod">
          <ac:chgData name="Aurelien Domont" userId="6da7715ce44349b3" providerId="LiveId" clId="{2349E0AC-9333-4F13-B2C9-E74906101359}" dt="2021-09-13T07:24:03.605" v="1890" actId="20577"/>
          <ac:spMkLst>
            <pc:docMk/>
            <pc:sldMk cId="1117051054" sldId="1895"/>
            <ac:spMk id="18" creationId="{167BA9C0-26E6-4DEB-8145-88445085F9A5}"/>
          </ac:spMkLst>
        </pc:spChg>
        <pc:spChg chg="del mod">
          <ac:chgData name="Aurelien Domont" userId="6da7715ce44349b3" providerId="LiveId" clId="{2349E0AC-9333-4F13-B2C9-E74906101359}" dt="2021-09-13T07:19:35.913" v="1602" actId="478"/>
          <ac:spMkLst>
            <pc:docMk/>
            <pc:sldMk cId="1117051054" sldId="1895"/>
            <ac:spMk id="20" creationId="{26DC7E42-8B51-4503-AE0E-82C18658C1D0}"/>
          </ac:spMkLst>
        </pc:spChg>
        <pc:spChg chg="del mod">
          <ac:chgData name="Aurelien Domont" userId="6da7715ce44349b3" providerId="LiveId" clId="{2349E0AC-9333-4F13-B2C9-E74906101359}" dt="2021-09-13T07:19:35.913" v="1602" actId="478"/>
          <ac:spMkLst>
            <pc:docMk/>
            <pc:sldMk cId="1117051054" sldId="1895"/>
            <ac:spMk id="22" creationId="{82908FAC-1BD6-424D-8A71-FD23D12A5A81}"/>
          </ac:spMkLst>
        </pc:spChg>
        <pc:spChg chg="del">
          <ac:chgData name="Aurelien Domont" userId="6da7715ce44349b3" providerId="LiveId" clId="{2349E0AC-9333-4F13-B2C9-E74906101359}" dt="2021-09-13T07:15:41.748" v="1558" actId="478"/>
          <ac:spMkLst>
            <pc:docMk/>
            <pc:sldMk cId="1117051054" sldId="1895"/>
            <ac:spMk id="27" creationId="{FDEE6112-2C7E-468F-890E-7287C8C9F888}"/>
          </ac:spMkLst>
        </pc:spChg>
        <pc:spChg chg="del">
          <ac:chgData name="Aurelien Domont" userId="6da7715ce44349b3" providerId="LiveId" clId="{2349E0AC-9333-4F13-B2C9-E74906101359}" dt="2021-09-13T07:15:41.748" v="1558" actId="478"/>
          <ac:spMkLst>
            <pc:docMk/>
            <pc:sldMk cId="1117051054" sldId="1895"/>
            <ac:spMk id="28" creationId="{CEDF9737-FF9B-4E1B-87B3-F80F43D1111B}"/>
          </ac:spMkLst>
        </pc:spChg>
        <pc:spChg chg="del mod">
          <ac:chgData name="Aurelien Domont" userId="6da7715ce44349b3" providerId="LiveId" clId="{2349E0AC-9333-4F13-B2C9-E74906101359}" dt="2021-09-13T07:15:41.748" v="1558" actId="478"/>
          <ac:spMkLst>
            <pc:docMk/>
            <pc:sldMk cId="1117051054" sldId="1895"/>
            <ac:spMk id="30" creationId="{65D022A9-E010-4009-AE35-ED56A6B43A7B}"/>
          </ac:spMkLst>
        </pc:spChg>
        <pc:picChg chg="add del mod">
          <ac:chgData name="Aurelien Domont" userId="6da7715ce44349b3" providerId="LiveId" clId="{2349E0AC-9333-4F13-B2C9-E74906101359}" dt="2021-09-13T07:19:35.913" v="1602" actId="478"/>
          <ac:picMkLst>
            <pc:docMk/>
            <pc:sldMk cId="1117051054" sldId="1895"/>
            <ac:picMk id="13" creationId="{1E205A37-54F3-4F42-8A21-9820A3290D97}"/>
          </ac:picMkLst>
        </pc:picChg>
        <pc:picChg chg="add del mod">
          <ac:chgData name="Aurelien Domont" userId="6da7715ce44349b3" providerId="LiveId" clId="{2349E0AC-9333-4F13-B2C9-E74906101359}" dt="2021-09-13T07:19:35.913" v="1602" actId="478"/>
          <ac:picMkLst>
            <pc:docMk/>
            <pc:sldMk cId="1117051054" sldId="1895"/>
            <ac:picMk id="14" creationId="{AC0D815F-FAFE-4181-9097-113C5263552F}"/>
          </ac:picMkLst>
        </pc:picChg>
        <pc:picChg chg="del mod">
          <ac:chgData name="Aurelien Domont" userId="6da7715ce44349b3" providerId="LiveId" clId="{2349E0AC-9333-4F13-B2C9-E74906101359}" dt="2021-09-13T07:19:35.913" v="1602" actId="478"/>
          <ac:picMkLst>
            <pc:docMk/>
            <pc:sldMk cId="1117051054" sldId="1895"/>
            <ac:picMk id="23" creationId="{F4C390EC-E739-4D4B-B4EE-5D3B32B659DF}"/>
          </ac:picMkLst>
        </pc:picChg>
        <pc:picChg chg="del mod">
          <ac:chgData name="Aurelien Domont" userId="6da7715ce44349b3" providerId="LiveId" clId="{2349E0AC-9333-4F13-B2C9-E74906101359}" dt="2021-09-13T07:19:35.913" v="1602" actId="478"/>
          <ac:picMkLst>
            <pc:docMk/>
            <pc:sldMk cId="1117051054" sldId="1895"/>
            <ac:picMk id="24" creationId="{8CD703EB-47EC-42E2-9927-A44532753981}"/>
          </ac:picMkLst>
        </pc:picChg>
      </pc:sldChg>
      <pc:sldChg chg="modSp add del mod">
        <pc:chgData name="Aurelien Domont" userId="6da7715ce44349b3" providerId="LiveId" clId="{2349E0AC-9333-4F13-B2C9-E74906101359}" dt="2022-12-07T03:09:02.623" v="5862"/>
        <pc:sldMkLst>
          <pc:docMk/>
          <pc:sldMk cId="3938337455" sldId="2034"/>
        </pc:sldMkLst>
        <pc:spChg chg="mod">
          <ac:chgData name="Aurelien Domont" userId="6da7715ce44349b3" providerId="LiveId" clId="{2349E0AC-9333-4F13-B2C9-E74906101359}" dt="2021-10-06T03:50:26.870" v="1961"/>
          <ac:spMkLst>
            <pc:docMk/>
            <pc:sldMk cId="3938337455" sldId="2034"/>
            <ac:spMk id="48" creationId="{971D573A-5304-4C92-8CB7-47985CE6549D}"/>
          </ac:spMkLst>
        </pc:spChg>
      </pc:sldChg>
      <pc:sldChg chg="add del">
        <pc:chgData name="Aurelien Domont" userId="6da7715ce44349b3" providerId="LiveId" clId="{2349E0AC-9333-4F13-B2C9-E74906101359}" dt="2022-12-07T03:09:02.623" v="5862"/>
        <pc:sldMkLst>
          <pc:docMk/>
          <pc:sldMk cId="1926619926" sldId="2147"/>
        </pc:sldMkLst>
      </pc:sldChg>
      <pc:sldChg chg="del">
        <pc:chgData name="Aurelien Domont" userId="6da7715ce44349b3" providerId="LiveId" clId="{2349E0AC-9333-4F13-B2C9-E74906101359}" dt="2021-09-09T06:01:33.871" v="271" actId="47"/>
        <pc:sldMkLst>
          <pc:docMk/>
          <pc:sldMk cId="2943938352" sldId="2154"/>
        </pc:sldMkLst>
      </pc:sldChg>
      <pc:sldChg chg="del">
        <pc:chgData name="Aurelien Domont" userId="6da7715ce44349b3" providerId="LiveId" clId="{2349E0AC-9333-4F13-B2C9-E74906101359}" dt="2021-09-09T06:01:33.871" v="271" actId="47"/>
        <pc:sldMkLst>
          <pc:docMk/>
          <pc:sldMk cId="1479295029" sldId="2156"/>
        </pc:sldMkLst>
      </pc:sldChg>
      <pc:sldChg chg="del">
        <pc:chgData name="Aurelien Domont" userId="6da7715ce44349b3" providerId="LiveId" clId="{2349E0AC-9333-4F13-B2C9-E74906101359}" dt="2021-09-09T05:44:09.494" v="35" actId="47"/>
        <pc:sldMkLst>
          <pc:docMk/>
          <pc:sldMk cId="1073937120" sldId="2160"/>
        </pc:sldMkLst>
      </pc:sldChg>
      <pc:sldChg chg="delSp modSp mod">
        <pc:chgData name="Aurelien Domont" userId="6da7715ce44349b3" providerId="LiveId" clId="{2349E0AC-9333-4F13-B2C9-E74906101359}" dt="2021-09-09T05:45:38.129" v="62" actId="1076"/>
        <pc:sldMkLst>
          <pc:docMk/>
          <pc:sldMk cId="62308209" sldId="2161"/>
        </pc:sldMkLst>
        <pc:spChg chg="mod">
          <ac:chgData name="Aurelien Domont" userId="6da7715ce44349b3" providerId="LiveId" clId="{2349E0AC-9333-4F13-B2C9-E74906101359}" dt="2021-09-09T05:45:30.441" v="60" actId="20577"/>
          <ac:spMkLst>
            <pc:docMk/>
            <pc:sldMk cId="62308209" sldId="2161"/>
            <ac:spMk id="16" creationId="{6C2BB713-9637-4B9B-938F-E9768876782A}"/>
          </ac:spMkLst>
        </pc:spChg>
        <pc:spChg chg="del">
          <ac:chgData name="Aurelien Domont" userId="6da7715ce44349b3" providerId="LiveId" clId="{2349E0AC-9333-4F13-B2C9-E74906101359}" dt="2021-09-09T05:45:33.649" v="61" actId="478"/>
          <ac:spMkLst>
            <pc:docMk/>
            <pc:sldMk cId="62308209" sldId="2161"/>
            <ac:spMk id="31" creationId="{80DB5C2A-CB4E-438A-8801-EB0869040D7B}"/>
          </ac:spMkLst>
        </pc:spChg>
        <pc:spChg chg="mod">
          <ac:chgData name="Aurelien Domont" userId="6da7715ce44349b3" providerId="LiveId" clId="{2349E0AC-9333-4F13-B2C9-E74906101359}" dt="2021-09-09T05:45:38.129" v="62" actId="1076"/>
          <ac:spMkLst>
            <pc:docMk/>
            <pc:sldMk cId="62308209" sldId="2161"/>
            <ac:spMk id="34" creationId="{E1B2FFE3-DBA5-416B-9DB3-3731D3B7B0A4}"/>
          </ac:spMkLst>
        </pc:spChg>
        <pc:spChg chg="mod">
          <ac:chgData name="Aurelien Domont" userId="6da7715ce44349b3" providerId="LiveId" clId="{2349E0AC-9333-4F13-B2C9-E74906101359}" dt="2021-09-09T05:45:38.129" v="62" actId="1076"/>
          <ac:spMkLst>
            <pc:docMk/>
            <pc:sldMk cId="62308209" sldId="2161"/>
            <ac:spMk id="35" creationId="{4D42CE75-EBD5-4944-A919-A414AA408861}"/>
          </ac:spMkLst>
        </pc:spChg>
        <pc:spChg chg="mod">
          <ac:chgData name="Aurelien Domont" userId="6da7715ce44349b3" providerId="LiveId" clId="{2349E0AC-9333-4F13-B2C9-E74906101359}" dt="2021-09-09T05:45:38.129" v="62" actId="1076"/>
          <ac:spMkLst>
            <pc:docMk/>
            <pc:sldMk cId="62308209" sldId="2161"/>
            <ac:spMk id="36" creationId="{374D2436-4DE9-43A4-9BB8-B23AA8701B3A}"/>
          </ac:spMkLst>
        </pc:spChg>
        <pc:spChg chg="mod">
          <ac:chgData name="Aurelien Domont" userId="6da7715ce44349b3" providerId="LiveId" clId="{2349E0AC-9333-4F13-B2C9-E74906101359}" dt="2021-09-09T05:45:38.129" v="62" actId="1076"/>
          <ac:spMkLst>
            <pc:docMk/>
            <pc:sldMk cId="62308209" sldId="2161"/>
            <ac:spMk id="37" creationId="{3C2FA24C-C27B-41CE-B094-2513F027D3A8}"/>
          </ac:spMkLst>
        </pc:spChg>
        <pc:spChg chg="mod">
          <ac:chgData name="Aurelien Domont" userId="6da7715ce44349b3" providerId="LiveId" clId="{2349E0AC-9333-4F13-B2C9-E74906101359}" dt="2021-09-09T05:45:38.129" v="62" actId="1076"/>
          <ac:spMkLst>
            <pc:docMk/>
            <pc:sldMk cId="62308209" sldId="2161"/>
            <ac:spMk id="38" creationId="{B6F8B35C-55F2-4C82-90F4-14AA1AB67BFC}"/>
          </ac:spMkLst>
        </pc:spChg>
        <pc:spChg chg="mod">
          <ac:chgData name="Aurelien Domont" userId="6da7715ce44349b3" providerId="LiveId" clId="{2349E0AC-9333-4F13-B2C9-E74906101359}" dt="2021-09-09T05:45:38.129" v="62" actId="1076"/>
          <ac:spMkLst>
            <pc:docMk/>
            <pc:sldMk cId="62308209" sldId="2161"/>
            <ac:spMk id="39" creationId="{519C9AE0-754E-4933-AD30-219E481A0051}"/>
          </ac:spMkLst>
        </pc:spChg>
        <pc:spChg chg="mod">
          <ac:chgData name="Aurelien Domont" userId="6da7715ce44349b3" providerId="LiveId" clId="{2349E0AC-9333-4F13-B2C9-E74906101359}" dt="2021-09-09T05:45:38.129" v="62" actId="1076"/>
          <ac:spMkLst>
            <pc:docMk/>
            <pc:sldMk cId="62308209" sldId="2161"/>
            <ac:spMk id="40" creationId="{89F4B0CF-9378-4A72-B65B-CA382567820F}"/>
          </ac:spMkLst>
        </pc:spChg>
        <pc:spChg chg="mod">
          <ac:chgData name="Aurelien Domont" userId="6da7715ce44349b3" providerId="LiveId" clId="{2349E0AC-9333-4F13-B2C9-E74906101359}" dt="2021-09-09T05:45:38.129" v="62" actId="1076"/>
          <ac:spMkLst>
            <pc:docMk/>
            <pc:sldMk cId="62308209" sldId="2161"/>
            <ac:spMk id="48" creationId="{19B26507-7537-48B2-A522-7220639B33CC}"/>
          </ac:spMkLst>
        </pc:spChg>
        <pc:spChg chg="mod">
          <ac:chgData name="Aurelien Domont" userId="6da7715ce44349b3" providerId="LiveId" clId="{2349E0AC-9333-4F13-B2C9-E74906101359}" dt="2021-09-09T05:45:38.129" v="62" actId="1076"/>
          <ac:spMkLst>
            <pc:docMk/>
            <pc:sldMk cId="62308209" sldId="2161"/>
            <ac:spMk id="49" creationId="{48639D28-B55E-4ADC-ACFB-B92978A605C1}"/>
          </ac:spMkLst>
        </pc:spChg>
        <pc:spChg chg="mod">
          <ac:chgData name="Aurelien Domont" userId="6da7715ce44349b3" providerId="LiveId" clId="{2349E0AC-9333-4F13-B2C9-E74906101359}" dt="2021-09-09T05:45:38.129" v="62" actId="1076"/>
          <ac:spMkLst>
            <pc:docMk/>
            <pc:sldMk cId="62308209" sldId="2161"/>
            <ac:spMk id="50" creationId="{EAC42D61-C273-4449-982C-A24D5A5FBED7}"/>
          </ac:spMkLst>
        </pc:spChg>
        <pc:spChg chg="mod">
          <ac:chgData name="Aurelien Domont" userId="6da7715ce44349b3" providerId="LiveId" clId="{2349E0AC-9333-4F13-B2C9-E74906101359}" dt="2021-09-09T05:45:38.129" v="62" actId="1076"/>
          <ac:spMkLst>
            <pc:docMk/>
            <pc:sldMk cId="62308209" sldId="2161"/>
            <ac:spMk id="51" creationId="{3A45E5FA-0069-45C4-B7A6-2A52D8054710}"/>
          </ac:spMkLst>
        </pc:spChg>
        <pc:spChg chg="mod">
          <ac:chgData name="Aurelien Domont" userId="6da7715ce44349b3" providerId="LiveId" clId="{2349E0AC-9333-4F13-B2C9-E74906101359}" dt="2021-09-09T05:45:38.129" v="62" actId="1076"/>
          <ac:spMkLst>
            <pc:docMk/>
            <pc:sldMk cId="62308209" sldId="2161"/>
            <ac:spMk id="73" creationId="{C668EDCD-6B28-442F-B7C3-2B0D4897B6F9}"/>
          </ac:spMkLst>
        </pc:spChg>
        <pc:spChg chg="mod">
          <ac:chgData name="Aurelien Domont" userId="6da7715ce44349b3" providerId="LiveId" clId="{2349E0AC-9333-4F13-B2C9-E74906101359}" dt="2021-09-09T05:45:38.129" v="62" actId="1076"/>
          <ac:spMkLst>
            <pc:docMk/>
            <pc:sldMk cId="62308209" sldId="2161"/>
            <ac:spMk id="74" creationId="{03F6514F-3D02-4564-ADC8-DC0817BCC948}"/>
          </ac:spMkLst>
        </pc:spChg>
        <pc:spChg chg="mod">
          <ac:chgData name="Aurelien Domont" userId="6da7715ce44349b3" providerId="LiveId" clId="{2349E0AC-9333-4F13-B2C9-E74906101359}" dt="2021-09-09T05:45:38.129" v="62" actId="1076"/>
          <ac:spMkLst>
            <pc:docMk/>
            <pc:sldMk cId="62308209" sldId="2161"/>
            <ac:spMk id="75" creationId="{6C561391-988C-4874-A798-F591CEF046D9}"/>
          </ac:spMkLst>
        </pc:spChg>
        <pc:spChg chg="mod">
          <ac:chgData name="Aurelien Domont" userId="6da7715ce44349b3" providerId="LiveId" clId="{2349E0AC-9333-4F13-B2C9-E74906101359}" dt="2021-09-09T05:45:38.129" v="62" actId="1076"/>
          <ac:spMkLst>
            <pc:docMk/>
            <pc:sldMk cId="62308209" sldId="2161"/>
            <ac:spMk id="76" creationId="{B4DAE029-E3D6-430E-8906-A24ABCE60AF7}"/>
          </ac:spMkLst>
        </pc:spChg>
        <pc:spChg chg="mod">
          <ac:chgData name="Aurelien Domont" userId="6da7715ce44349b3" providerId="LiveId" clId="{2349E0AC-9333-4F13-B2C9-E74906101359}" dt="2021-09-09T05:45:38.129" v="62" actId="1076"/>
          <ac:spMkLst>
            <pc:docMk/>
            <pc:sldMk cId="62308209" sldId="2161"/>
            <ac:spMk id="77" creationId="{7BA855D7-CC73-483D-8655-83DEC862FF66}"/>
          </ac:spMkLst>
        </pc:spChg>
        <pc:spChg chg="mod">
          <ac:chgData name="Aurelien Domont" userId="6da7715ce44349b3" providerId="LiveId" clId="{2349E0AC-9333-4F13-B2C9-E74906101359}" dt="2021-09-09T05:45:38.129" v="62" actId="1076"/>
          <ac:spMkLst>
            <pc:docMk/>
            <pc:sldMk cId="62308209" sldId="2161"/>
            <ac:spMk id="78" creationId="{FA1091B8-4DD8-4C8D-8CBD-A2E2CEE60B1F}"/>
          </ac:spMkLst>
        </pc:spChg>
        <pc:grpChg chg="mod">
          <ac:chgData name="Aurelien Domont" userId="6da7715ce44349b3" providerId="LiveId" clId="{2349E0AC-9333-4F13-B2C9-E74906101359}" dt="2021-09-09T05:45:38.129" v="62" actId="1076"/>
          <ac:grpSpMkLst>
            <pc:docMk/>
            <pc:sldMk cId="62308209" sldId="2161"/>
            <ac:grpSpMk id="85" creationId="{29E32D0B-A58E-4E75-B2E7-01A6CE79C7F0}"/>
          </ac:grpSpMkLst>
        </pc:grpChg>
        <pc:picChg chg="mod">
          <ac:chgData name="Aurelien Domont" userId="6da7715ce44349b3" providerId="LiveId" clId="{2349E0AC-9333-4F13-B2C9-E74906101359}" dt="2021-09-09T05:45:38.129" v="62" actId="1076"/>
          <ac:picMkLst>
            <pc:docMk/>
            <pc:sldMk cId="62308209" sldId="2161"/>
            <ac:picMk id="79" creationId="{8323D500-379C-42EB-829B-5CBA0C9BD11A}"/>
          </ac:picMkLst>
        </pc:picChg>
        <pc:picChg chg="mod">
          <ac:chgData name="Aurelien Domont" userId="6da7715ce44349b3" providerId="LiveId" clId="{2349E0AC-9333-4F13-B2C9-E74906101359}" dt="2021-09-09T05:45:38.129" v="62" actId="1076"/>
          <ac:picMkLst>
            <pc:docMk/>
            <pc:sldMk cId="62308209" sldId="2161"/>
            <ac:picMk id="80" creationId="{15E36AB3-1C2B-4419-BA3B-C76E995F1C2E}"/>
          </ac:picMkLst>
        </pc:picChg>
        <pc:picChg chg="mod">
          <ac:chgData name="Aurelien Domont" userId="6da7715ce44349b3" providerId="LiveId" clId="{2349E0AC-9333-4F13-B2C9-E74906101359}" dt="2021-09-09T05:45:38.129" v="62" actId="1076"/>
          <ac:picMkLst>
            <pc:docMk/>
            <pc:sldMk cId="62308209" sldId="2161"/>
            <ac:picMk id="81" creationId="{D6EFFCE4-6246-4DF3-ADA4-8908107C4126}"/>
          </ac:picMkLst>
        </pc:picChg>
        <pc:picChg chg="mod">
          <ac:chgData name="Aurelien Domont" userId="6da7715ce44349b3" providerId="LiveId" clId="{2349E0AC-9333-4F13-B2C9-E74906101359}" dt="2021-09-09T05:45:38.129" v="62" actId="1076"/>
          <ac:picMkLst>
            <pc:docMk/>
            <pc:sldMk cId="62308209" sldId="2161"/>
            <ac:picMk id="82" creationId="{CF628464-EBFE-42E9-962A-D71144AD423F}"/>
          </ac:picMkLst>
        </pc:picChg>
        <pc:picChg chg="mod">
          <ac:chgData name="Aurelien Domont" userId="6da7715ce44349b3" providerId="LiveId" clId="{2349E0AC-9333-4F13-B2C9-E74906101359}" dt="2021-09-09T05:45:38.129" v="62" actId="1076"/>
          <ac:picMkLst>
            <pc:docMk/>
            <pc:sldMk cId="62308209" sldId="2161"/>
            <ac:picMk id="83" creationId="{BA885BFE-89BB-4CC9-9B7E-B34C40B6D5D7}"/>
          </ac:picMkLst>
        </pc:picChg>
        <pc:picChg chg="mod">
          <ac:chgData name="Aurelien Domont" userId="6da7715ce44349b3" providerId="LiveId" clId="{2349E0AC-9333-4F13-B2C9-E74906101359}" dt="2021-09-09T05:45:38.129" v="62" actId="1076"/>
          <ac:picMkLst>
            <pc:docMk/>
            <pc:sldMk cId="62308209" sldId="2161"/>
            <ac:picMk id="84" creationId="{0BE82368-4F77-4BDE-ACE8-51420ECE202E}"/>
          </ac:picMkLst>
        </pc:picChg>
        <pc:cxnChg chg="mod">
          <ac:chgData name="Aurelien Domont" userId="6da7715ce44349b3" providerId="LiveId" clId="{2349E0AC-9333-4F13-B2C9-E74906101359}" dt="2021-09-09T05:45:38.129" v="62" actId="1076"/>
          <ac:cxnSpMkLst>
            <pc:docMk/>
            <pc:sldMk cId="62308209" sldId="2161"/>
            <ac:cxnSpMk id="41" creationId="{8C5AD82E-AB23-4089-AA37-932F239A2C62}"/>
          </ac:cxnSpMkLst>
        </pc:cxnChg>
        <pc:cxnChg chg="mod">
          <ac:chgData name="Aurelien Domont" userId="6da7715ce44349b3" providerId="LiveId" clId="{2349E0AC-9333-4F13-B2C9-E74906101359}" dt="2021-09-09T05:45:38.129" v="62" actId="1076"/>
          <ac:cxnSpMkLst>
            <pc:docMk/>
            <pc:sldMk cId="62308209" sldId="2161"/>
            <ac:cxnSpMk id="42" creationId="{9453C508-ECBC-4AF0-B3F0-207099046C59}"/>
          </ac:cxnSpMkLst>
        </pc:cxnChg>
        <pc:cxnChg chg="mod">
          <ac:chgData name="Aurelien Domont" userId="6da7715ce44349b3" providerId="LiveId" clId="{2349E0AC-9333-4F13-B2C9-E74906101359}" dt="2021-09-09T05:45:38.129" v="62" actId="1076"/>
          <ac:cxnSpMkLst>
            <pc:docMk/>
            <pc:sldMk cId="62308209" sldId="2161"/>
            <ac:cxnSpMk id="43" creationId="{ECB40045-54EE-48A2-9963-3DAA40D26B70}"/>
          </ac:cxnSpMkLst>
        </pc:cxnChg>
        <pc:cxnChg chg="mod">
          <ac:chgData name="Aurelien Domont" userId="6da7715ce44349b3" providerId="LiveId" clId="{2349E0AC-9333-4F13-B2C9-E74906101359}" dt="2021-09-09T05:45:38.129" v="62" actId="1076"/>
          <ac:cxnSpMkLst>
            <pc:docMk/>
            <pc:sldMk cId="62308209" sldId="2161"/>
            <ac:cxnSpMk id="44" creationId="{328F4FA4-D5AC-41D7-A610-C71E56353ABA}"/>
          </ac:cxnSpMkLst>
        </pc:cxnChg>
        <pc:cxnChg chg="mod">
          <ac:chgData name="Aurelien Domont" userId="6da7715ce44349b3" providerId="LiveId" clId="{2349E0AC-9333-4F13-B2C9-E74906101359}" dt="2021-09-09T05:45:38.129" v="62" actId="1076"/>
          <ac:cxnSpMkLst>
            <pc:docMk/>
            <pc:sldMk cId="62308209" sldId="2161"/>
            <ac:cxnSpMk id="45" creationId="{5A00F544-B637-4AE0-9456-DEADC19170B4}"/>
          </ac:cxnSpMkLst>
        </pc:cxnChg>
        <pc:cxnChg chg="mod">
          <ac:chgData name="Aurelien Domont" userId="6da7715ce44349b3" providerId="LiveId" clId="{2349E0AC-9333-4F13-B2C9-E74906101359}" dt="2021-09-09T05:45:38.129" v="62" actId="1076"/>
          <ac:cxnSpMkLst>
            <pc:docMk/>
            <pc:sldMk cId="62308209" sldId="2161"/>
            <ac:cxnSpMk id="46" creationId="{89563420-A8F1-4B09-BC0F-B0F2CBFDEA49}"/>
          </ac:cxnSpMkLst>
        </pc:cxnChg>
        <pc:cxnChg chg="mod">
          <ac:chgData name="Aurelien Domont" userId="6da7715ce44349b3" providerId="LiveId" clId="{2349E0AC-9333-4F13-B2C9-E74906101359}" dt="2021-09-09T05:45:38.129" v="62" actId="1076"/>
          <ac:cxnSpMkLst>
            <pc:docMk/>
            <pc:sldMk cId="62308209" sldId="2161"/>
            <ac:cxnSpMk id="47" creationId="{15F6E258-DA49-4678-AA7D-F999C6AE98B0}"/>
          </ac:cxnSpMkLst>
        </pc:cxnChg>
      </pc:sldChg>
      <pc:sldChg chg="addSp delSp modSp mod">
        <pc:chgData name="Aurelien Domont" userId="6da7715ce44349b3" providerId="LiveId" clId="{2349E0AC-9333-4F13-B2C9-E74906101359}" dt="2022-03-16T03:47:36.224" v="5826"/>
        <pc:sldMkLst>
          <pc:docMk/>
          <pc:sldMk cId="3272444503" sldId="2162"/>
        </pc:sldMkLst>
        <pc:spChg chg="del mod">
          <ac:chgData name="Aurelien Domont" userId="6da7715ce44349b3" providerId="LiveId" clId="{2349E0AC-9333-4F13-B2C9-E74906101359}" dt="2021-09-09T05:46:44.985" v="66" actId="478"/>
          <ac:spMkLst>
            <pc:docMk/>
            <pc:sldMk cId="3272444503" sldId="2162"/>
            <ac:spMk id="6" creationId="{22D27BA3-CC85-4DD2-AEDB-C22AC367D60A}"/>
          </ac:spMkLst>
        </pc:spChg>
        <pc:spChg chg="add del mod">
          <ac:chgData name="Aurelien Domont" userId="6da7715ce44349b3" providerId="LiveId" clId="{2349E0AC-9333-4F13-B2C9-E74906101359}" dt="2022-01-27T02:05:50.866" v="5363" actId="478"/>
          <ac:spMkLst>
            <pc:docMk/>
            <pc:sldMk cId="3272444503" sldId="2162"/>
            <ac:spMk id="6" creationId="{D25D1A79-4A3A-4C0D-8FE7-D799FE9264EA}"/>
          </ac:spMkLst>
        </pc:spChg>
        <pc:spChg chg="add mod">
          <ac:chgData name="Aurelien Domont" userId="6da7715ce44349b3" providerId="LiveId" clId="{2349E0AC-9333-4F13-B2C9-E74906101359}" dt="2022-03-16T03:47:36.224" v="5826"/>
          <ac:spMkLst>
            <pc:docMk/>
            <pc:sldMk cId="3272444503" sldId="2162"/>
            <ac:spMk id="7" creationId="{6873D066-724E-4E57-89E0-1F7649425086}"/>
          </ac:spMkLst>
        </pc:spChg>
        <pc:spChg chg="mod">
          <ac:chgData name="Aurelien Domont" userId="6da7715ce44349b3" providerId="LiveId" clId="{2349E0AC-9333-4F13-B2C9-E74906101359}" dt="2021-09-09T05:47:27.085" v="77" actId="20577"/>
          <ac:spMkLst>
            <pc:docMk/>
            <pc:sldMk cId="3272444503" sldId="2162"/>
            <ac:spMk id="16" creationId="{6C2BB713-9637-4B9B-938F-E9768876782A}"/>
          </ac:spMkLst>
        </pc:spChg>
      </pc:sldChg>
      <pc:sldChg chg="addSp delSp modSp add del mod">
        <pc:chgData name="Aurelien Domont" userId="6da7715ce44349b3" providerId="LiveId" clId="{2349E0AC-9333-4F13-B2C9-E74906101359}" dt="2022-01-25T06:44:29.170" v="4916" actId="20577"/>
        <pc:sldMkLst>
          <pc:docMk/>
          <pc:sldMk cId="4178836903" sldId="2169"/>
        </pc:sldMkLst>
        <pc:spChg chg="mod">
          <ac:chgData name="Aurelien Domont" userId="6da7715ce44349b3" providerId="LiveId" clId="{2349E0AC-9333-4F13-B2C9-E74906101359}" dt="2022-01-25T06:41:29.363" v="4747" actId="14100"/>
          <ac:spMkLst>
            <pc:docMk/>
            <pc:sldMk cId="4178836903" sldId="2169"/>
            <ac:spMk id="12" creationId="{E7675798-47BC-4250-BA24-0E2AC4A10A86}"/>
          </ac:spMkLst>
        </pc:spChg>
        <pc:spChg chg="mod">
          <ac:chgData name="Aurelien Domont" userId="6da7715ce44349b3" providerId="LiveId" clId="{2349E0AC-9333-4F13-B2C9-E74906101359}" dt="2022-01-25T06:43:43.078" v="4857" actId="20577"/>
          <ac:spMkLst>
            <pc:docMk/>
            <pc:sldMk cId="4178836903" sldId="2169"/>
            <ac:spMk id="15" creationId="{9D051C05-62A5-4FB5-846C-31987D33AA9E}"/>
          </ac:spMkLst>
        </pc:spChg>
        <pc:spChg chg="mod">
          <ac:chgData name="Aurelien Domont" userId="6da7715ce44349b3" providerId="LiveId" clId="{2349E0AC-9333-4F13-B2C9-E74906101359}" dt="2022-01-25T06:43:46.169" v="4859" actId="20577"/>
          <ac:spMkLst>
            <pc:docMk/>
            <pc:sldMk cId="4178836903" sldId="2169"/>
            <ac:spMk id="17" creationId="{142BE8BF-9256-475D-900B-55FCC0CE6DB5}"/>
          </ac:spMkLst>
        </pc:spChg>
        <pc:spChg chg="mod">
          <ac:chgData name="Aurelien Domont" userId="6da7715ce44349b3" providerId="LiveId" clId="{2349E0AC-9333-4F13-B2C9-E74906101359}" dt="2022-01-25T06:44:29.170" v="4916" actId="20577"/>
          <ac:spMkLst>
            <pc:docMk/>
            <pc:sldMk cId="4178836903" sldId="2169"/>
            <ac:spMk id="19" creationId="{B9017FA6-F0E0-4269-9C6B-53FA5BEF3E64}"/>
          </ac:spMkLst>
        </pc:spChg>
        <pc:picChg chg="del">
          <ac:chgData name="Aurelien Domont" userId="6da7715ce44349b3" providerId="LiveId" clId="{2349E0AC-9333-4F13-B2C9-E74906101359}" dt="2022-01-25T06:41:06.245" v="4732" actId="478"/>
          <ac:picMkLst>
            <pc:docMk/>
            <pc:sldMk cId="4178836903" sldId="2169"/>
            <ac:picMk id="2" creationId="{84E5CC93-D5AA-458E-BB87-714F1E53178E}"/>
          </ac:picMkLst>
        </pc:picChg>
        <pc:picChg chg="del">
          <ac:chgData name="Aurelien Domont" userId="6da7715ce44349b3" providerId="LiveId" clId="{2349E0AC-9333-4F13-B2C9-E74906101359}" dt="2022-01-25T06:42:28.643" v="4763" actId="478"/>
          <ac:picMkLst>
            <pc:docMk/>
            <pc:sldMk cId="4178836903" sldId="2169"/>
            <ac:picMk id="3" creationId="{097ECFA8-B152-4816-9DCE-7FB11FD32803}"/>
          </ac:picMkLst>
        </pc:picChg>
        <pc:picChg chg="del">
          <ac:chgData name="Aurelien Domont" userId="6da7715ce44349b3" providerId="LiveId" clId="{2349E0AC-9333-4F13-B2C9-E74906101359}" dt="2022-01-25T06:44:17.157" v="4877" actId="478"/>
          <ac:picMkLst>
            <pc:docMk/>
            <pc:sldMk cId="4178836903" sldId="2169"/>
            <ac:picMk id="4" creationId="{71090539-4853-42C0-8BB5-619FDF372F84}"/>
          </ac:picMkLst>
        </pc:picChg>
        <pc:picChg chg="del">
          <ac:chgData name="Aurelien Domont" userId="6da7715ce44349b3" providerId="LiveId" clId="{2349E0AC-9333-4F13-B2C9-E74906101359}" dt="2022-01-25T06:43:32.910" v="4818" actId="478"/>
          <ac:picMkLst>
            <pc:docMk/>
            <pc:sldMk cId="4178836903" sldId="2169"/>
            <ac:picMk id="11" creationId="{F7A9918B-B7CD-4643-8B6A-74AEBFA4B2C2}"/>
          </ac:picMkLst>
        </pc:picChg>
        <pc:picChg chg="add mod">
          <ac:chgData name="Aurelien Domont" userId="6da7715ce44349b3" providerId="LiveId" clId="{2349E0AC-9333-4F13-B2C9-E74906101359}" dt="2022-01-25T06:41:09.455" v="4742" actId="1038"/>
          <ac:picMkLst>
            <pc:docMk/>
            <pc:sldMk cId="4178836903" sldId="2169"/>
            <ac:picMk id="14" creationId="{04B2A881-2EC5-4093-84BC-F5B268975F25}"/>
          </ac:picMkLst>
        </pc:picChg>
        <pc:picChg chg="add mod">
          <ac:chgData name="Aurelien Domont" userId="6da7715ce44349b3" providerId="LiveId" clId="{2349E0AC-9333-4F13-B2C9-E74906101359}" dt="2022-01-25T06:42:31.347" v="4774" actId="1038"/>
          <ac:picMkLst>
            <pc:docMk/>
            <pc:sldMk cId="4178836903" sldId="2169"/>
            <ac:picMk id="18" creationId="{17C7B38E-2E67-4720-B664-7F8A1FF33A86}"/>
          </ac:picMkLst>
        </pc:picChg>
        <pc:picChg chg="add mod">
          <ac:chgData name="Aurelien Domont" userId="6da7715ce44349b3" providerId="LiveId" clId="{2349E0AC-9333-4F13-B2C9-E74906101359}" dt="2022-01-25T06:43:35.378" v="4829" actId="1038"/>
          <ac:picMkLst>
            <pc:docMk/>
            <pc:sldMk cId="4178836903" sldId="2169"/>
            <ac:picMk id="20" creationId="{371787DE-423F-4CD9-9495-E164624BDFAF}"/>
          </ac:picMkLst>
        </pc:picChg>
        <pc:picChg chg="add mod">
          <ac:chgData name="Aurelien Domont" userId="6da7715ce44349b3" providerId="LiveId" clId="{2349E0AC-9333-4F13-B2C9-E74906101359}" dt="2022-01-25T06:44:22.093" v="4888" actId="108"/>
          <ac:picMkLst>
            <pc:docMk/>
            <pc:sldMk cId="4178836903" sldId="2169"/>
            <ac:picMk id="21" creationId="{B9F74C00-9E6B-41B9-857F-88B111959D25}"/>
          </ac:picMkLst>
        </pc:picChg>
      </pc:sldChg>
      <pc:sldChg chg="del">
        <pc:chgData name="Aurelien Domont" userId="6da7715ce44349b3" providerId="LiveId" clId="{2349E0AC-9333-4F13-B2C9-E74906101359}" dt="2021-09-09T06:01:33.871" v="271" actId="47"/>
        <pc:sldMkLst>
          <pc:docMk/>
          <pc:sldMk cId="2678382071" sldId="2170"/>
        </pc:sldMkLst>
      </pc:sldChg>
      <pc:sldChg chg="del">
        <pc:chgData name="Aurelien Domont" userId="6da7715ce44349b3" providerId="LiveId" clId="{2349E0AC-9333-4F13-B2C9-E74906101359}" dt="2021-09-09T06:01:33.871" v="271" actId="47"/>
        <pc:sldMkLst>
          <pc:docMk/>
          <pc:sldMk cId="4258618140" sldId="2187"/>
        </pc:sldMkLst>
      </pc:sldChg>
      <pc:sldChg chg="del">
        <pc:chgData name="Aurelien Domont" userId="6da7715ce44349b3" providerId="LiveId" clId="{2349E0AC-9333-4F13-B2C9-E74906101359}" dt="2021-09-09T06:01:33.871" v="271" actId="47"/>
        <pc:sldMkLst>
          <pc:docMk/>
          <pc:sldMk cId="2349979947" sldId="2190"/>
        </pc:sldMkLst>
      </pc:sldChg>
      <pc:sldChg chg="del">
        <pc:chgData name="Aurelien Domont" userId="6da7715ce44349b3" providerId="LiveId" clId="{2349E0AC-9333-4F13-B2C9-E74906101359}" dt="2021-09-09T06:01:33.871" v="271" actId="47"/>
        <pc:sldMkLst>
          <pc:docMk/>
          <pc:sldMk cId="3340324934" sldId="2191"/>
        </pc:sldMkLst>
      </pc:sldChg>
      <pc:sldChg chg="addSp delSp modSp add del mod">
        <pc:chgData name="Aurelien Domont" userId="6da7715ce44349b3" providerId="LiveId" clId="{2349E0AC-9333-4F13-B2C9-E74906101359}" dt="2022-03-16T03:54:12.531" v="5856"/>
        <pc:sldMkLst>
          <pc:docMk/>
          <pc:sldMk cId="1209091634" sldId="2192"/>
        </pc:sldMkLst>
        <pc:spChg chg="mod">
          <ac:chgData name="Aurelien Domont" userId="6da7715ce44349b3" providerId="LiveId" clId="{2349E0AC-9333-4F13-B2C9-E74906101359}" dt="2022-03-16T03:54:05.161" v="5855" actId="20577"/>
          <ac:spMkLst>
            <pc:docMk/>
            <pc:sldMk cId="1209091634" sldId="2192"/>
            <ac:spMk id="16" creationId="{6C2BB713-9637-4B9B-938F-E9768876782A}"/>
          </ac:spMkLst>
        </pc:spChg>
        <pc:spChg chg="mod">
          <ac:chgData name="Aurelien Domont" userId="6da7715ce44349b3" providerId="LiveId" clId="{2349E0AC-9333-4F13-B2C9-E74906101359}" dt="2022-01-25T07:05:49.893" v="5193" actId="1036"/>
          <ac:spMkLst>
            <pc:docMk/>
            <pc:sldMk cId="1209091634" sldId="2192"/>
            <ac:spMk id="27" creationId="{022F9676-1CDA-4501-AB55-94D67867C319}"/>
          </ac:spMkLst>
        </pc:spChg>
        <pc:spChg chg="del">
          <ac:chgData name="Aurelien Domont" userId="6da7715ce44349b3" providerId="LiveId" clId="{2349E0AC-9333-4F13-B2C9-E74906101359}" dt="2022-01-25T07:03:47.989" v="5087" actId="478"/>
          <ac:spMkLst>
            <pc:docMk/>
            <pc:sldMk cId="1209091634" sldId="2192"/>
            <ac:spMk id="30" creationId="{923C41CF-5B83-4495-A8B0-44FF4D6FA348}"/>
          </ac:spMkLst>
        </pc:spChg>
        <pc:spChg chg="del">
          <ac:chgData name="Aurelien Domont" userId="6da7715ce44349b3" providerId="LiveId" clId="{2349E0AC-9333-4F13-B2C9-E74906101359}" dt="2022-01-25T07:03:47.989" v="5087" actId="478"/>
          <ac:spMkLst>
            <pc:docMk/>
            <pc:sldMk cId="1209091634" sldId="2192"/>
            <ac:spMk id="34" creationId="{7E571953-6197-4747-BD0F-640FF96CDD1D}"/>
          </ac:spMkLst>
        </pc:spChg>
        <pc:spChg chg="del">
          <ac:chgData name="Aurelien Domont" userId="6da7715ce44349b3" providerId="LiveId" clId="{2349E0AC-9333-4F13-B2C9-E74906101359}" dt="2022-01-25T07:03:47.989" v="5087" actId="478"/>
          <ac:spMkLst>
            <pc:docMk/>
            <pc:sldMk cId="1209091634" sldId="2192"/>
            <ac:spMk id="35" creationId="{4A99C3F6-A408-4486-A9F9-59002C595D07}"/>
          </ac:spMkLst>
        </pc:spChg>
        <pc:spChg chg="del">
          <ac:chgData name="Aurelien Domont" userId="6da7715ce44349b3" providerId="LiveId" clId="{2349E0AC-9333-4F13-B2C9-E74906101359}" dt="2022-01-25T07:03:47.989" v="5087" actId="478"/>
          <ac:spMkLst>
            <pc:docMk/>
            <pc:sldMk cId="1209091634" sldId="2192"/>
            <ac:spMk id="36" creationId="{5D53319E-0468-4B4B-98E5-3E07127703C8}"/>
          </ac:spMkLst>
        </pc:spChg>
        <pc:spChg chg="del">
          <ac:chgData name="Aurelien Domont" userId="6da7715ce44349b3" providerId="LiveId" clId="{2349E0AC-9333-4F13-B2C9-E74906101359}" dt="2022-01-25T07:03:47.989" v="5087" actId="478"/>
          <ac:spMkLst>
            <pc:docMk/>
            <pc:sldMk cId="1209091634" sldId="2192"/>
            <ac:spMk id="37" creationId="{3C81E9F3-DC0D-4D6D-A856-00CCD9A8A24C}"/>
          </ac:spMkLst>
        </pc:spChg>
        <pc:spChg chg="del">
          <ac:chgData name="Aurelien Domont" userId="6da7715ce44349b3" providerId="LiveId" clId="{2349E0AC-9333-4F13-B2C9-E74906101359}" dt="2022-01-25T07:03:47.989" v="5087" actId="478"/>
          <ac:spMkLst>
            <pc:docMk/>
            <pc:sldMk cId="1209091634" sldId="2192"/>
            <ac:spMk id="38" creationId="{B6B72380-C6BC-4134-9D0C-56D5EA500C68}"/>
          </ac:spMkLst>
        </pc:spChg>
        <pc:spChg chg="del">
          <ac:chgData name="Aurelien Domont" userId="6da7715ce44349b3" providerId="LiveId" clId="{2349E0AC-9333-4F13-B2C9-E74906101359}" dt="2022-01-25T07:03:47.989" v="5087" actId="478"/>
          <ac:spMkLst>
            <pc:docMk/>
            <pc:sldMk cId="1209091634" sldId="2192"/>
            <ac:spMk id="39" creationId="{2D9D59B7-B461-45F8-BF85-083779934B0A}"/>
          </ac:spMkLst>
        </pc:spChg>
        <pc:spChg chg="del">
          <ac:chgData name="Aurelien Domont" userId="6da7715ce44349b3" providerId="LiveId" clId="{2349E0AC-9333-4F13-B2C9-E74906101359}" dt="2022-01-25T07:03:47.989" v="5087" actId="478"/>
          <ac:spMkLst>
            <pc:docMk/>
            <pc:sldMk cId="1209091634" sldId="2192"/>
            <ac:spMk id="40" creationId="{FEDB459F-A4B8-4765-B92A-8FA0C8E5F993}"/>
          </ac:spMkLst>
        </pc:spChg>
        <pc:spChg chg="del">
          <ac:chgData name="Aurelien Domont" userId="6da7715ce44349b3" providerId="LiveId" clId="{2349E0AC-9333-4F13-B2C9-E74906101359}" dt="2022-01-25T07:03:47.989" v="5087" actId="478"/>
          <ac:spMkLst>
            <pc:docMk/>
            <pc:sldMk cId="1209091634" sldId="2192"/>
            <ac:spMk id="41" creationId="{728AF1DC-F738-487E-B414-3D2103CF27C5}"/>
          </ac:spMkLst>
        </pc:spChg>
        <pc:spChg chg="del">
          <ac:chgData name="Aurelien Domont" userId="6da7715ce44349b3" providerId="LiveId" clId="{2349E0AC-9333-4F13-B2C9-E74906101359}" dt="2022-01-25T07:03:47.989" v="5087" actId="478"/>
          <ac:spMkLst>
            <pc:docMk/>
            <pc:sldMk cId="1209091634" sldId="2192"/>
            <ac:spMk id="42" creationId="{144BC78D-497F-4A02-8EDB-65B763F21D95}"/>
          </ac:spMkLst>
        </pc:spChg>
        <pc:spChg chg="mod">
          <ac:chgData name="Aurelien Domont" userId="6da7715ce44349b3" providerId="LiveId" clId="{2349E0AC-9333-4F13-B2C9-E74906101359}" dt="2022-03-16T03:54:01.541" v="5854"/>
          <ac:spMkLst>
            <pc:docMk/>
            <pc:sldMk cId="1209091634" sldId="2192"/>
            <ac:spMk id="45" creationId="{66C5F612-5A89-4C48-BDA9-92B6DBF678F8}"/>
          </ac:spMkLst>
        </pc:spChg>
        <pc:spChg chg="mod">
          <ac:chgData name="Aurelien Domont" userId="6da7715ce44349b3" providerId="LiveId" clId="{2349E0AC-9333-4F13-B2C9-E74906101359}" dt="2022-01-25T07:05:49.893" v="5193" actId="1036"/>
          <ac:spMkLst>
            <pc:docMk/>
            <pc:sldMk cId="1209091634" sldId="2192"/>
            <ac:spMk id="46" creationId="{5EDAE2A3-62C3-43E6-BBF2-1A1A1EBD0B6E}"/>
          </ac:spMkLst>
        </pc:spChg>
        <pc:spChg chg="mod">
          <ac:chgData name="Aurelien Domont" userId="6da7715ce44349b3" providerId="LiveId" clId="{2349E0AC-9333-4F13-B2C9-E74906101359}" dt="2022-01-25T07:05:49.893" v="5193" actId="1036"/>
          <ac:spMkLst>
            <pc:docMk/>
            <pc:sldMk cId="1209091634" sldId="2192"/>
            <ac:spMk id="47" creationId="{8CD051DA-5632-4D12-9C75-ED64000E9143}"/>
          </ac:spMkLst>
        </pc:spChg>
        <pc:spChg chg="mod">
          <ac:chgData name="Aurelien Domont" userId="6da7715ce44349b3" providerId="LiveId" clId="{2349E0AC-9333-4F13-B2C9-E74906101359}" dt="2022-01-25T07:05:49.893" v="5193" actId="1036"/>
          <ac:spMkLst>
            <pc:docMk/>
            <pc:sldMk cId="1209091634" sldId="2192"/>
            <ac:spMk id="48" creationId="{76C9DD00-67A5-4365-A8E4-8BE79F30DFD3}"/>
          </ac:spMkLst>
        </pc:spChg>
        <pc:spChg chg="del">
          <ac:chgData name="Aurelien Domont" userId="6da7715ce44349b3" providerId="LiveId" clId="{2349E0AC-9333-4F13-B2C9-E74906101359}" dt="2022-01-25T07:04:11.173" v="5125" actId="478"/>
          <ac:spMkLst>
            <pc:docMk/>
            <pc:sldMk cId="1209091634" sldId="2192"/>
            <ac:spMk id="49" creationId="{357A4FF3-34B5-4549-BAFF-E8D4357C8F42}"/>
          </ac:spMkLst>
        </pc:spChg>
        <pc:spChg chg="del">
          <ac:chgData name="Aurelien Domont" userId="6da7715ce44349b3" providerId="LiveId" clId="{2349E0AC-9333-4F13-B2C9-E74906101359}" dt="2022-01-25T07:04:11.173" v="5125" actId="478"/>
          <ac:spMkLst>
            <pc:docMk/>
            <pc:sldMk cId="1209091634" sldId="2192"/>
            <ac:spMk id="50" creationId="{9F7306CF-551A-43F0-88F1-076DA251C3BE}"/>
          </ac:spMkLst>
        </pc:spChg>
        <pc:spChg chg="del">
          <ac:chgData name="Aurelien Domont" userId="6da7715ce44349b3" providerId="LiveId" clId="{2349E0AC-9333-4F13-B2C9-E74906101359}" dt="2022-01-25T07:04:11.173" v="5125" actId="478"/>
          <ac:spMkLst>
            <pc:docMk/>
            <pc:sldMk cId="1209091634" sldId="2192"/>
            <ac:spMk id="51" creationId="{F7737196-7906-4B97-80EC-7AD0065DD5D6}"/>
          </ac:spMkLst>
        </pc:spChg>
        <pc:spChg chg="del">
          <ac:chgData name="Aurelien Domont" userId="6da7715ce44349b3" providerId="LiveId" clId="{2349E0AC-9333-4F13-B2C9-E74906101359}" dt="2022-01-25T07:04:11.173" v="5125" actId="478"/>
          <ac:spMkLst>
            <pc:docMk/>
            <pc:sldMk cId="1209091634" sldId="2192"/>
            <ac:spMk id="52" creationId="{82F73540-0B81-4EC5-9FE2-004B8ABC7144}"/>
          </ac:spMkLst>
        </pc:spChg>
        <pc:spChg chg="mod">
          <ac:chgData name="Aurelien Domont" userId="6da7715ce44349b3" providerId="LiveId" clId="{2349E0AC-9333-4F13-B2C9-E74906101359}" dt="2022-01-25T07:05:30.208" v="5177" actId="207"/>
          <ac:spMkLst>
            <pc:docMk/>
            <pc:sldMk cId="1209091634" sldId="2192"/>
            <ac:spMk id="53" creationId="{CED486D3-E0D9-4427-96B3-325C56C98857}"/>
          </ac:spMkLst>
        </pc:spChg>
        <pc:spChg chg="add mod">
          <ac:chgData name="Aurelien Domont" userId="6da7715ce44349b3" providerId="LiveId" clId="{2349E0AC-9333-4F13-B2C9-E74906101359}" dt="2022-01-25T07:05:49.893" v="5193" actId="1036"/>
          <ac:spMkLst>
            <pc:docMk/>
            <pc:sldMk cId="1209091634" sldId="2192"/>
            <ac:spMk id="54" creationId="{B8B50508-0BE2-4D64-B367-4C9A3BC66C8F}"/>
          </ac:spMkLst>
        </pc:spChg>
        <pc:spChg chg="add mod">
          <ac:chgData name="Aurelien Domont" userId="6da7715ce44349b3" providerId="LiveId" clId="{2349E0AC-9333-4F13-B2C9-E74906101359}" dt="2022-01-25T07:05:49.893" v="5193" actId="1036"/>
          <ac:spMkLst>
            <pc:docMk/>
            <pc:sldMk cId="1209091634" sldId="2192"/>
            <ac:spMk id="55" creationId="{905C40BD-71C3-4F2F-A79B-A093FE502899}"/>
          </ac:spMkLst>
        </pc:spChg>
        <pc:spChg chg="add mod">
          <ac:chgData name="Aurelien Domont" userId="6da7715ce44349b3" providerId="LiveId" clId="{2349E0AC-9333-4F13-B2C9-E74906101359}" dt="2022-01-25T07:05:49.893" v="5193" actId="1036"/>
          <ac:spMkLst>
            <pc:docMk/>
            <pc:sldMk cId="1209091634" sldId="2192"/>
            <ac:spMk id="56" creationId="{1672FBCC-99E2-475B-B06A-42F7BBD28CED}"/>
          </ac:spMkLst>
        </pc:spChg>
        <pc:spChg chg="add mod">
          <ac:chgData name="Aurelien Domont" userId="6da7715ce44349b3" providerId="LiveId" clId="{2349E0AC-9333-4F13-B2C9-E74906101359}" dt="2022-01-25T07:05:49.893" v="5193" actId="1036"/>
          <ac:spMkLst>
            <pc:docMk/>
            <pc:sldMk cId="1209091634" sldId="2192"/>
            <ac:spMk id="57" creationId="{8FC415E1-8341-4172-86DA-AEEE256133F9}"/>
          </ac:spMkLst>
        </pc:spChg>
        <pc:spChg chg="add mod">
          <ac:chgData name="Aurelien Domont" userId="6da7715ce44349b3" providerId="LiveId" clId="{2349E0AC-9333-4F13-B2C9-E74906101359}" dt="2022-01-25T07:05:49.893" v="5193" actId="1036"/>
          <ac:spMkLst>
            <pc:docMk/>
            <pc:sldMk cId="1209091634" sldId="2192"/>
            <ac:spMk id="59" creationId="{4C8F1A38-68DC-42EB-BFA4-548334668FC4}"/>
          </ac:spMkLst>
        </pc:spChg>
        <pc:spChg chg="add mod">
          <ac:chgData name="Aurelien Domont" userId="6da7715ce44349b3" providerId="LiveId" clId="{2349E0AC-9333-4F13-B2C9-E74906101359}" dt="2022-01-25T07:05:49.893" v="5193" actId="1036"/>
          <ac:spMkLst>
            <pc:docMk/>
            <pc:sldMk cId="1209091634" sldId="2192"/>
            <ac:spMk id="60" creationId="{8DE02B1A-E7ED-4EED-8F69-B2F21AC43FB6}"/>
          </ac:spMkLst>
        </pc:spChg>
        <pc:spChg chg="add mod">
          <ac:chgData name="Aurelien Domont" userId="6da7715ce44349b3" providerId="LiveId" clId="{2349E0AC-9333-4F13-B2C9-E74906101359}" dt="2022-01-25T07:05:49.893" v="5193" actId="1036"/>
          <ac:spMkLst>
            <pc:docMk/>
            <pc:sldMk cId="1209091634" sldId="2192"/>
            <ac:spMk id="61" creationId="{8FDA4D58-C256-4516-8CD7-D3FAC23C9A3C}"/>
          </ac:spMkLst>
        </pc:spChg>
        <pc:spChg chg="add mod">
          <ac:chgData name="Aurelien Domont" userId="6da7715ce44349b3" providerId="LiveId" clId="{2349E0AC-9333-4F13-B2C9-E74906101359}" dt="2022-01-25T07:05:49.893" v="5193" actId="1036"/>
          <ac:spMkLst>
            <pc:docMk/>
            <pc:sldMk cId="1209091634" sldId="2192"/>
            <ac:spMk id="62" creationId="{40776760-01A0-4FA4-93A3-A5DF4EDDA543}"/>
          </ac:spMkLst>
        </pc:spChg>
        <pc:spChg chg="add mod">
          <ac:chgData name="Aurelien Domont" userId="6da7715ce44349b3" providerId="LiveId" clId="{2349E0AC-9333-4F13-B2C9-E74906101359}" dt="2022-01-25T07:05:49.893" v="5193" actId="1036"/>
          <ac:spMkLst>
            <pc:docMk/>
            <pc:sldMk cId="1209091634" sldId="2192"/>
            <ac:spMk id="63" creationId="{CE7C11FF-3E0D-4FE2-A303-7ED15A873A67}"/>
          </ac:spMkLst>
        </pc:spChg>
        <pc:spChg chg="add mod">
          <ac:chgData name="Aurelien Domont" userId="6da7715ce44349b3" providerId="LiveId" clId="{2349E0AC-9333-4F13-B2C9-E74906101359}" dt="2022-01-25T07:05:49.893" v="5193" actId="1036"/>
          <ac:spMkLst>
            <pc:docMk/>
            <pc:sldMk cId="1209091634" sldId="2192"/>
            <ac:spMk id="64" creationId="{1BB21764-5F82-4D7D-B4CD-218B8025B096}"/>
          </ac:spMkLst>
        </pc:spChg>
        <pc:spChg chg="add mod">
          <ac:chgData name="Aurelien Domont" userId="6da7715ce44349b3" providerId="LiveId" clId="{2349E0AC-9333-4F13-B2C9-E74906101359}" dt="2022-01-25T07:05:49.893" v="5193" actId="1036"/>
          <ac:spMkLst>
            <pc:docMk/>
            <pc:sldMk cId="1209091634" sldId="2192"/>
            <ac:spMk id="65" creationId="{AE791009-D13A-4548-B9CC-0423A102DB91}"/>
          </ac:spMkLst>
        </pc:spChg>
        <pc:spChg chg="add mod">
          <ac:chgData name="Aurelien Domont" userId="6da7715ce44349b3" providerId="LiveId" clId="{2349E0AC-9333-4F13-B2C9-E74906101359}" dt="2022-01-25T07:05:49.893" v="5193" actId="1036"/>
          <ac:spMkLst>
            <pc:docMk/>
            <pc:sldMk cId="1209091634" sldId="2192"/>
            <ac:spMk id="66" creationId="{74F1D637-9DAA-4291-AE11-47645101A1AE}"/>
          </ac:spMkLst>
        </pc:spChg>
        <pc:spChg chg="add mod">
          <ac:chgData name="Aurelien Domont" userId="6da7715ce44349b3" providerId="LiveId" clId="{2349E0AC-9333-4F13-B2C9-E74906101359}" dt="2022-01-25T07:05:49.893" v="5193" actId="1036"/>
          <ac:spMkLst>
            <pc:docMk/>
            <pc:sldMk cId="1209091634" sldId="2192"/>
            <ac:spMk id="67" creationId="{6EA59A6F-D759-4451-8892-C76B2CBDA402}"/>
          </ac:spMkLst>
        </pc:spChg>
        <pc:grpChg chg="add del mod">
          <ac:chgData name="Aurelien Domont" userId="6da7715ce44349b3" providerId="LiveId" clId="{2349E0AC-9333-4F13-B2C9-E74906101359}" dt="2022-03-16T03:54:12.531" v="5856"/>
          <ac:grpSpMkLst>
            <pc:docMk/>
            <pc:sldMk cId="1209091634" sldId="2192"/>
            <ac:grpSpMk id="2" creationId="{3B278966-4189-4325-9836-5AB362925DB2}"/>
          </ac:grpSpMkLst>
        </pc:grpChg>
        <pc:grpChg chg="add">
          <ac:chgData name="Aurelien Domont" userId="6da7715ce44349b3" providerId="LiveId" clId="{2349E0AC-9333-4F13-B2C9-E74906101359}" dt="2022-03-16T03:54:12.531" v="5856"/>
          <ac:grpSpMkLst>
            <pc:docMk/>
            <pc:sldMk cId="1209091634" sldId="2192"/>
            <ac:grpSpMk id="3" creationId="{3B278966-4189-4325-9836-5AB362925DB2}"/>
          </ac:grpSpMkLst>
        </pc:grpChg>
        <pc:picChg chg="del">
          <ac:chgData name="Aurelien Domont" userId="6da7715ce44349b3" providerId="LiveId" clId="{2349E0AC-9333-4F13-B2C9-E74906101359}" dt="2022-01-25T07:03:47.989" v="5087" actId="478"/>
          <ac:picMkLst>
            <pc:docMk/>
            <pc:sldMk cId="1209091634" sldId="2192"/>
            <ac:picMk id="28" creationId="{FF355F01-F007-4C24-AA95-9E4FE7DF0ACD}"/>
          </ac:picMkLst>
        </pc:picChg>
        <pc:picChg chg="del">
          <ac:chgData name="Aurelien Domont" userId="6da7715ce44349b3" providerId="LiveId" clId="{2349E0AC-9333-4F13-B2C9-E74906101359}" dt="2022-01-25T07:03:47.989" v="5087" actId="478"/>
          <ac:picMkLst>
            <pc:docMk/>
            <pc:sldMk cId="1209091634" sldId="2192"/>
            <ac:picMk id="29" creationId="{CACEE143-239B-4F4D-A484-117591EBDFAE}"/>
          </ac:picMkLst>
        </pc:picChg>
        <pc:picChg chg="del">
          <ac:chgData name="Aurelien Domont" userId="6da7715ce44349b3" providerId="LiveId" clId="{2349E0AC-9333-4F13-B2C9-E74906101359}" dt="2022-01-25T07:03:47.989" v="5087" actId="478"/>
          <ac:picMkLst>
            <pc:docMk/>
            <pc:sldMk cId="1209091634" sldId="2192"/>
            <ac:picMk id="31" creationId="{89979A0A-C018-44ED-8A86-BF1A8BB599EB}"/>
          </ac:picMkLst>
        </pc:picChg>
        <pc:picChg chg="del">
          <ac:chgData name="Aurelien Domont" userId="6da7715ce44349b3" providerId="LiveId" clId="{2349E0AC-9333-4F13-B2C9-E74906101359}" dt="2022-01-25T07:03:47.989" v="5087" actId="478"/>
          <ac:picMkLst>
            <pc:docMk/>
            <pc:sldMk cId="1209091634" sldId="2192"/>
            <ac:picMk id="32" creationId="{1E632C31-E784-4327-B032-5A1C8A2B01A8}"/>
          </ac:picMkLst>
        </pc:picChg>
        <pc:picChg chg="del">
          <ac:chgData name="Aurelien Domont" userId="6da7715ce44349b3" providerId="LiveId" clId="{2349E0AC-9333-4F13-B2C9-E74906101359}" dt="2022-01-25T07:03:47.989" v="5087" actId="478"/>
          <ac:picMkLst>
            <pc:docMk/>
            <pc:sldMk cId="1209091634" sldId="2192"/>
            <ac:picMk id="33" creationId="{E020A810-A41E-42A1-9544-5550D5B20660}"/>
          </ac:picMkLst>
        </pc:picChg>
        <pc:picChg chg="mod">
          <ac:chgData name="Aurelien Domont" userId="6da7715ce44349b3" providerId="LiveId" clId="{2349E0AC-9333-4F13-B2C9-E74906101359}" dt="2022-01-25T07:05:49.893" v="5193" actId="1036"/>
          <ac:picMkLst>
            <pc:docMk/>
            <pc:sldMk cId="1209091634" sldId="2192"/>
            <ac:picMk id="43" creationId="{250E8DD8-D2B2-4AA9-8FCB-518B8D2D5850}"/>
          </ac:picMkLst>
        </pc:picChg>
        <pc:picChg chg="mod">
          <ac:chgData name="Aurelien Domont" userId="6da7715ce44349b3" providerId="LiveId" clId="{2349E0AC-9333-4F13-B2C9-E74906101359}" dt="2022-01-25T07:05:49.893" v="5193" actId="1036"/>
          <ac:picMkLst>
            <pc:docMk/>
            <pc:sldMk cId="1209091634" sldId="2192"/>
            <ac:picMk id="44" creationId="{713EEF7A-E025-4053-86B3-ABF91302CF16}"/>
          </ac:picMkLst>
        </pc:picChg>
      </pc:sldChg>
      <pc:sldChg chg="del">
        <pc:chgData name="Aurelien Domont" userId="6da7715ce44349b3" providerId="LiveId" clId="{2349E0AC-9333-4F13-B2C9-E74906101359}" dt="2021-09-09T06:01:33.871" v="271" actId="47"/>
        <pc:sldMkLst>
          <pc:docMk/>
          <pc:sldMk cId="1270591852" sldId="2200"/>
        </pc:sldMkLst>
      </pc:sldChg>
      <pc:sldChg chg="del">
        <pc:chgData name="Aurelien Domont" userId="6da7715ce44349b3" providerId="LiveId" clId="{2349E0AC-9333-4F13-B2C9-E74906101359}" dt="2021-09-09T06:01:33.871" v="271" actId="47"/>
        <pc:sldMkLst>
          <pc:docMk/>
          <pc:sldMk cId="526020649" sldId="2201"/>
        </pc:sldMkLst>
      </pc:sldChg>
      <pc:sldChg chg="del">
        <pc:chgData name="Aurelien Domont" userId="6da7715ce44349b3" providerId="LiveId" clId="{2349E0AC-9333-4F13-B2C9-E74906101359}" dt="2021-09-09T06:01:33.871" v="271" actId="47"/>
        <pc:sldMkLst>
          <pc:docMk/>
          <pc:sldMk cId="750087135" sldId="2202"/>
        </pc:sldMkLst>
      </pc:sldChg>
      <pc:sldChg chg="del">
        <pc:chgData name="Aurelien Domont" userId="6da7715ce44349b3" providerId="LiveId" clId="{2349E0AC-9333-4F13-B2C9-E74906101359}" dt="2021-09-09T06:01:33.871" v="271" actId="47"/>
        <pc:sldMkLst>
          <pc:docMk/>
          <pc:sldMk cId="4234697142" sldId="2203"/>
        </pc:sldMkLst>
      </pc:sldChg>
      <pc:sldChg chg="del">
        <pc:chgData name="Aurelien Domont" userId="6da7715ce44349b3" providerId="LiveId" clId="{2349E0AC-9333-4F13-B2C9-E74906101359}" dt="2021-09-09T06:01:33.871" v="271" actId="47"/>
        <pc:sldMkLst>
          <pc:docMk/>
          <pc:sldMk cId="224053391" sldId="2204"/>
        </pc:sldMkLst>
      </pc:sldChg>
      <pc:sldChg chg="addSp modSp new del mod">
        <pc:chgData name="Aurelien Domont" userId="6da7715ce44349b3" providerId="LiveId" clId="{2349E0AC-9333-4F13-B2C9-E74906101359}" dt="2021-09-09T06:01:37.007" v="272" actId="47"/>
        <pc:sldMkLst>
          <pc:docMk/>
          <pc:sldMk cId="2076640696" sldId="2205"/>
        </pc:sldMkLst>
        <pc:spChg chg="add mod">
          <ac:chgData name="Aurelien Domont" userId="6da7715ce44349b3" providerId="LiveId" clId="{2349E0AC-9333-4F13-B2C9-E74906101359}" dt="2021-09-09T05:47:46.599" v="80" actId="13822"/>
          <ac:spMkLst>
            <pc:docMk/>
            <pc:sldMk cId="2076640696" sldId="2205"/>
            <ac:spMk id="8" creationId="{F6462C69-8327-4A4C-BB20-664CFBC0809C}"/>
          </ac:spMkLst>
        </pc:spChg>
      </pc:sldChg>
      <pc:sldChg chg="addSp delSp modSp add del mod">
        <pc:chgData name="Aurelien Domont" userId="6da7715ce44349b3" providerId="LiveId" clId="{2349E0AC-9333-4F13-B2C9-E74906101359}" dt="2021-09-13T05:51:25.931" v="549" actId="47"/>
        <pc:sldMkLst>
          <pc:docMk/>
          <pc:sldMk cId="1832315193" sldId="2206"/>
        </pc:sldMkLst>
        <pc:spChg chg="add mod">
          <ac:chgData name="Aurelien Domont" userId="6da7715ce44349b3" providerId="LiveId" clId="{2349E0AC-9333-4F13-B2C9-E74906101359}" dt="2021-09-09T05:51:39.924" v="189"/>
          <ac:spMkLst>
            <pc:docMk/>
            <pc:sldMk cId="1832315193" sldId="2206"/>
            <ac:spMk id="6" creationId="{238F0036-6BC1-440E-B8F1-6711ACC674F0}"/>
          </ac:spMkLst>
        </pc:spChg>
        <pc:spChg chg="del">
          <ac:chgData name="Aurelien Domont" userId="6da7715ce44349b3" providerId="LiveId" clId="{2349E0AC-9333-4F13-B2C9-E74906101359}" dt="2021-09-09T05:51:38.879" v="188" actId="478"/>
          <ac:spMkLst>
            <pc:docMk/>
            <pc:sldMk cId="1832315193" sldId="2206"/>
            <ac:spMk id="7" creationId="{6873D066-724E-4E57-89E0-1F7649425086}"/>
          </ac:spMkLst>
        </pc:spChg>
        <pc:spChg chg="add mod">
          <ac:chgData name="Aurelien Domont" userId="6da7715ce44349b3" providerId="LiveId" clId="{2349E0AC-9333-4F13-B2C9-E74906101359}" dt="2021-09-09T05:51:39.924" v="189"/>
          <ac:spMkLst>
            <pc:docMk/>
            <pc:sldMk cId="1832315193" sldId="2206"/>
            <ac:spMk id="8" creationId="{5AD20283-C610-4E4E-B7FD-0A74829B17D2}"/>
          </ac:spMkLst>
        </pc:spChg>
        <pc:spChg chg="add mod">
          <ac:chgData name="Aurelien Domont" userId="6da7715ce44349b3" providerId="LiveId" clId="{2349E0AC-9333-4F13-B2C9-E74906101359}" dt="2021-09-09T05:51:39.924" v="189"/>
          <ac:spMkLst>
            <pc:docMk/>
            <pc:sldMk cId="1832315193" sldId="2206"/>
            <ac:spMk id="9" creationId="{9916BF81-D831-4945-8A7F-F1BBF3BE00F7}"/>
          </ac:spMkLst>
        </pc:spChg>
        <pc:spChg chg="add mod">
          <ac:chgData name="Aurelien Domont" userId="6da7715ce44349b3" providerId="LiveId" clId="{2349E0AC-9333-4F13-B2C9-E74906101359}" dt="2021-09-09T05:51:39.924" v="189"/>
          <ac:spMkLst>
            <pc:docMk/>
            <pc:sldMk cId="1832315193" sldId="2206"/>
            <ac:spMk id="10" creationId="{B1C88FC8-A399-4036-A50C-88B22BCA06AE}"/>
          </ac:spMkLst>
        </pc:spChg>
        <pc:spChg chg="add mod">
          <ac:chgData name="Aurelien Domont" userId="6da7715ce44349b3" providerId="LiveId" clId="{2349E0AC-9333-4F13-B2C9-E74906101359}" dt="2021-09-09T05:51:39.924" v="189"/>
          <ac:spMkLst>
            <pc:docMk/>
            <pc:sldMk cId="1832315193" sldId="2206"/>
            <ac:spMk id="12" creationId="{669CF01D-E2E3-4BEE-B623-8324947E2082}"/>
          </ac:spMkLst>
        </pc:spChg>
        <pc:spChg chg="mod">
          <ac:chgData name="Aurelien Domont" userId="6da7715ce44349b3" providerId="LiveId" clId="{2349E0AC-9333-4F13-B2C9-E74906101359}" dt="2021-09-09T05:51:21.054" v="187" actId="20577"/>
          <ac:spMkLst>
            <pc:docMk/>
            <pc:sldMk cId="1832315193" sldId="2206"/>
            <ac:spMk id="16" creationId="{6C2BB713-9637-4B9B-938F-E9768876782A}"/>
          </ac:spMkLst>
        </pc:spChg>
        <pc:spChg chg="add mod">
          <ac:chgData name="Aurelien Domont" userId="6da7715ce44349b3" providerId="LiveId" clId="{2349E0AC-9333-4F13-B2C9-E74906101359}" dt="2021-09-09T05:51:39.924" v="189"/>
          <ac:spMkLst>
            <pc:docMk/>
            <pc:sldMk cId="1832315193" sldId="2206"/>
            <ac:spMk id="19" creationId="{40F450C2-7100-4D0F-91E4-597A71B103E4}"/>
          </ac:spMkLst>
        </pc:spChg>
        <pc:spChg chg="add mod">
          <ac:chgData name="Aurelien Domont" userId="6da7715ce44349b3" providerId="LiveId" clId="{2349E0AC-9333-4F13-B2C9-E74906101359}" dt="2021-09-09T05:51:39.924" v="189"/>
          <ac:spMkLst>
            <pc:docMk/>
            <pc:sldMk cId="1832315193" sldId="2206"/>
            <ac:spMk id="20" creationId="{0C20E171-2CDF-4CC5-9794-E43D383FF666}"/>
          </ac:spMkLst>
        </pc:spChg>
        <pc:picChg chg="add mod">
          <ac:chgData name="Aurelien Domont" userId="6da7715ce44349b3" providerId="LiveId" clId="{2349E0AC-9333-4F13-B2C9-E74906101359}" dt="2021-09-09T05:51:39.924" v="189"/>
          <ac:picMkLst>
            <pc:docMk/>
            <pc:sldMk cId="1832315193" sldId="2206"/>
            <ac:picMk id="11" creationId="{EC760C83-E385-463D-9CCD-28497A47952E}"/>
          </ac:picMkLst>
        </pc:picChg>
        <pc:picChg chg="add mod">
          <ac:chgData name="Aurelien Domont" userId="6da7715ce44349b3" providerId="LiveId" clId="{2349E0AC-9333-4F13-B2C9-E74906101359}" dt="2021-09-09T05:51:39.924" v="189"/>
          <ac:picMkLst>
            <pc:docMk/>
            <pc:sldMk cId="1832315193" sldId="2206"/>
            <ac:picMk id="14" creationId="{95D2287B-DEFC-4271-97FD-F9656371E0A0}"/>
          </ac:picMkLst>
        </pc:picChg>
        <pc:picChg chg="add mod">
          <ac:chgData name="Aurelien Domont" userId="6da7715ce44349b3" providerId="LiveId" clId="{2349E0AC-9333-4F13-B2C9-E74906101359}" dt="2021-09-09T05:51:39.924" v="189"/>
          <ac:picMkLst>
            <pc:docMk/>
            <pc:sldMk cId="1832315193" sldId="2206"/>
            <ac:picMk id="15" creationId="{398F2540-B59B-4D5F-9697-D1EBA87669D5}"/>
          </ac:picMkLst>
        </pc:picChg>
        <pc:picChg chg="add mod">
          <ac:chgData name="Aurelien Domont" userId="6da7715ce44349b3" providerId="LiveId" clId="{2349E0AC-9333-4F13-B2C9-E74906101359}" dt="2021-09-09T05:51:39.924" v="189"/>
          <ac:picMkLst>
            <pc:docMk/>
            <pc:sldMk cId="1832315193" sldId="2206"/>
            <ac:picMk id="17" creationId="{09696FBC-6BC1-492A-B2D9-00F4424B947F}"/>
          </ac:picMkLst>
        </pc:picChg>
        <pc:picChg chg="add mod">
          <ac:chgData name="Aurelien Domont" userId="6da7715ce44349b3" providerId="LiveId" clId="{2349E0AC-9333-4F13-B2C9-E74906101359}" dt="2021-09-09T05:51:39.924" v="189"/>
          <ac:picMkLst>
            <pc:docMk/>
            <pc:sldMk cId="1832315193" sldId="2206"/>
            <ac:picMk id="18" creationId="{2CA1C184-9BAE-4ADD-BE0C-74D76F74D94E}"/>
          </ac:picMkLst>
        </pc:picChg>
      </pc:sldChg>
      <pc:sldChg chg="addSp delSp modSp add del mod">
        <pc:chgData name="Aurelien Domont" userId="6da7715ce44349b3" providerId="LiveId" clId="{2349E0AC-9333-4F13-B2C9-E74906101359}" dt="2021-09-13T05:57:20.137" v="773" actId="47"/>
        <pc:sldMkLst>
          <pc:docMk/>
          <pc:sldMk cId="3126592537" sldId="2207"/>
        </pc:sldMkLst>
        <pc:spChg chg="del">
          <ac:chgData name="Aurelien Domont" userId="6da7715ce44349b3" providerId="LiveId" clId="{2349E0AC-9333-4F13-B2C9-E74906101359}" dt="2021-09-09T05:53:47.425" v="222" actId="478"/>
          <ac:spMkLst>
            <pc:docMk/>
            <pc:sldMk cId="3126592537" sldId="2207"/>
            <ac:spMk id="6" creationId="{238F0036-6BC1-440E-B8F1-6711ACC674F0}"/>
          </ac:spMkLst>
        </pc:spChg>
        <pc:spChg chg="del">
          <ac:chgData name="Aurelien Domont" userId="6da7715ce44349b3" providerId="LiveId" clId="{2349E0AC-9333-4F13-B2C9-E74906101359}" dt="2021-09-09T05:53:47.425" v="222" actId="478"/>
          <ac:spMkLst>
            <pc:docMk/>
            <pc:sldMk cId="3126592537" sldId="2207"/>
            <ac:spMk id="8" creationId="{5AD20283-C610-4E4E-B7FD-0A74829B17D2}"/>
          </ac:spMkLst>
        </pc:spChg>
        <pc:spChg chg="del">
          <ac:chgData name="Aurelien Domont" userId="6da7715ce44349b3" providerId="LiveId" clId="{2349E0AC-9333-4F13-B2C9-E74906101359}" dt="2021-09-09T05:53:47.425" v="222" actId="478"/>
          <ac:spMkLst>
            <pc:docMk/>
            <pc:sldMk cId="3126592537" sldId="2207"/>
            <ac:spMk id="9" creationId="{9916BF81-D831-4945-8A7F-F1BBF3BE00F7}"/>
          </ac:spMkLst>
        </pc:spChg>
        <pc:spChg chg="del">
          <ac:chgData name="Aurelien Domont" userId="6da7715ce44349b3" providerId="LiveId" clId="{2349E0AC-9333-4F13-B2C9-E74906101359}" dt="2021-09-09T05:53:47.425" v="222" actId="478"/>
          <ac:spMkLst>
            <pc:docMk/>
            <pc:sldMk cId="3126592537" sldId="2207"/>
            <ac:spMk id="10" creationId="{B1C88FC8-A399-4036-A50C-88B22BCA06AE}"/>
          </ac:spMkLst>
        </pc:spChg>
        <pc:spChg chg="del">
          <ac:chgData name="Aurelien Domont" userId="6da7715ce44349b3" providerId="LiveId" clId="{2349E0AC-9333-4F13-B2C9-E74906101359}" dt="2021-09-09T05:53:47.425" v="222" actId="478"/>
          <ac:spMkLst>
            <pc:docMk/>
            <pc:sldMk cId="3126592537" sldId="2207"/>
            <ac:spMk id="12" creationId="{669CF01D-E2E3-4BEE-B623-8324947E2082}"/>
          </ac:spMkLst>
        </pc:spChg>
        <pc:spChg chg="mod">
          <ac:chgData name="Aurelien Domont" userId="6da7715ce44349b3" providerId="LiveId" clId="{2349E0AC-9333-4F13-B2C9-E74906101359}" dt="2021-09-09T05:56:30.610" v="228" actId="20577"/>
          <ac:spMkLst>
            <pc:docMk/>
            <pc:sldMk cId="3126592537" sldId="2207"/>
            <ac:spMk id="16" creationId="{6C2BB713-9637-4B9B-938F-E9768876782A}"/>
          </ac:spMkLst>
        </pc:spChg>
        <pc:spChg chg="del">
          <ac:chgData name="Aurelien Domont" userId="6da7715ce44349b3" providerId="LiveId" clId="{2349E0AC-9333-4F13-B2C9-E74906101359}" dt="2021-09-09T05:53:47.425" v="222" actId="478"/>
          <ac:spMkLst>
            <pc:docMk/>
            <pc:sldMk cId="3126592537" sldId="2207"/>
            <ac:spMk id="19" creationId="{40F450C2-7100-4D0F-91E4-597A71B103E4}"/>
          </ac:spMkLst>
        </pc:spChg>
        <pc:spChg chg="del">
          <ac:chgData name="Aurelien Domont" userId="6da7715ce44349b3" providerId="LiveId" clId="{2349E0AC-9333-4F13-B2C9-E74906101359}" dt="2021-09-09T05:53:47.425" v="222" actId="478"/>
          <ac:spMkLst>
            <pc:docMk/>
            <pc:sldMk cId="3126592537" sldId="2207"/>
            <ac:spMk id="20" creationId="{0C20E171-2CDF-4CC5-9794-E43D383FF666}"/>
          </ac:spMkLst>
        </pc:spChg>
        <pc:spChg chg="add mod">
          <ac:chgData name="Aurelien Domont" userId="6da7715ce44349b3" providerId="LiveId" clId="{2349E0AC-9333-4F13-B2C9-E74906101359}" dt="2021-09-09T05:53:47.752" v="223"/>
          <ac:spMkLst>
            <pc:docMk/>
            <pc:sldMk cId="3126592537" sldId="2207"/>
            <ac:spMk id="21" creationId="{BDC4347E-732F-4CBB-9F1F-43DFA73E2480}"/>
          </ac:spMkLst>
        </pc:spChg>
        <pc:spChg chg="add mod">
          <ac:chgData name="Aurelien Domont" userId="6da7715ce44349b3" providerId="LiveId" clId="{2349E0AC-9333-4F13-B2C9-E74906101359}" dt="2021-09-09T05:53:47.752" v="223"/>
          <ac:spMkLst>
            <pc:docMk/>
            <pc:sldMk cId="3126592537" sldId="2207"/>
            <ac:spMk id="22" creationId="{1FE6A84D-F23A-4A92-942F-F59499C4998E}"/>
          </ac:spMkLst>
        </pc:spChg>
        <pc:spChg chg="add mod">
          <ac:chgData name="Aurelien Domont" userId="6da7715ce44349b3" providerId="LiveId" clId="{2349E0AC-9333-4F13-B2C9-E74906101359}" dt="2021-09-09T05:53:47.752" v="223"/>
          <ac:spMkLst>
            <pc:docMk/>
            <pc:sldMk cId="3126592537" sldId="2207"/>
            <ac:spMk id="23" creationId="{38B66352-7F18-40E6-805A-E76E9D76FEBA}"/>
          </ac:spMkLst>
        </pc:spChg>
        <pc:spChg chg="add mod">
          <ac:chgData name="Aurelien Domont" userId="6da7715ce44349b3" providerId="LiveId" clId="{2349E0AC-9333-4F13-B2C9-E74906101359}" dt="2021-09-09T05:53:47.752" v="223"/>
          <ac:spMkLst>
            <pc:docMk/>
            <pc:sldMk cId="3126592537" sldId="2207"/>
            <ac:spMk id="24" creationId="{F69DCE93-91F1-47B7-8667-A6F5F9DFF108}"/>
          </ac:spMkLst>
        </pc:spChg>
        <pc:spChg chg="add mod">
          <ac:chgData name="Aurelien Domont" userId="6da7715ce44349b3" providerId="LiveId" clId="{2349E0AC-9333-4F13-B2C9-E74906101359}" dt="2021-09-09T05:53:47.752" v="223"/>
          <ac:spMkLst>
            <pc:docMk/>
            <pc:sldMk cId="3126592537" sldId="2207"/>
            <ac:spMk id="26" creationId="{C07B01CE-E3A4-4425-8FDD-E2E1938F231E}"/>
          </ac:spMkLst>
        </pc:spChg>
        <pc:picChg chg="del">
          <ac:chgData name="Aurelien Domont" userId="6da7715ce44349b3" providerId="LiveId" clId="{2349E0AC-9333-4F13-B2C9-E74906101359}" dt="2021-09-09T05:53:47.425" v="222" actId="478"/>
          <ac:picMkLst>
            <pc:docMk/>
            <pc:sldMk cId="3126592537" sldId="2207"/>
            <ac:picMk id="11" creationId="{EC760C83-E385-463D-9CCD-28497A47952E}"/>
          </ac:picMkLst>
        </pc:picChg>
        <pc:picChg chg="del">
          <ac:chgData name="Aurelien Domont" userId="6da7715ce44349b3" providerId="LiveId" clId="{2349E0AC-9333-4F13-B2C9-E74906101359}" dt="2021-09-09T05:53:47.425" v="222" actId="478"/>
          <ac:picMkLst>
            <pc:docMk/>
            <pc:sldMk cId="3126592537" sldId="2207"/>
            <ac:picMk id="14" creationId="{95D2287B-DEFC-4271-97FD-F9656371E0A0}"/>
          </ac:picMkLst>
        </pc:picChg>
        <pc:picChg chg="del">
          <ac:chgData name="Aurelien Domont" userId="6da7715ce44349b3" providerId="LiveId" clId="{2349E0AC-9333-4F13-B2C9-E74906101359}" dt="2021-09-09T05:53:47.425" v="222" actId="478"/>
          <ac:picMkLst>
            <pc:docMk/>
            <pc:sldMk cId="3126592537" sldId="2207"/>
            <ac:picMk id="15" creationId="{398F2540-B59B-4D5F-9697-D1EBA87669D5}"/>
          </ac:picMkLst>
        </pc:picChg>
        <pc:picChg chg="del">
          <ac:chgData name="Aurelien Domont" userId="6da7715ce44349b3" providerId="LiveId" clId="{2349E0AC-9333-4F13-B2C9-E74906101359}" dt="2021-09-09T05:53:47.425" v="222" actId="478"/>
          <ac:picMkLst>
            <pc:docMk/>
            <pc:sldMk cId="3126592537" sldId="2207"/>
            <ac:picMk id="17" creationId="{09696FBC-6BC1-492A-B2D9-00F4424B947F}"/>
          </ac:picMkLst>
        </pc:picChg>
        <pc:picChg chg="del">
          <ac:chgData name="Aurelien Domont" userId="6da7715ce44349b3" providerId="LiveId" clId="{2349E0AC-9333-4F13-B2C9-E74906101359}" dt="2021-09-09T05:53:47.425" v="222" actId="478"/>
          <ac:picMkLst>
            <pc:docMk/>
            <pc:sldMk cId="3126592537" sldId="2207"/>
            <ac:picMk id="18" creationId="{2CA1C184-9BAE-4ADD-BE0C-74D76F74D94E}"/>
          </ac:picMkLst>
        </pc:picChg>
        <pc:picChg chg="add mod">
          <ac:chgData name="Aurelien Domont" userId="6da7715ce44349b3" providerId="LiveId" clId="{2349E0AC-9333-4F13-B2C9-E74906101359}" dt="2021-09-09T05:53:47.752" v="223"/>
          <ac:picMkLst>
            <pc:docMk/>
            <pc:sldMk cId="3126592537" sldId="2207"/>
            <ac:picMk id="25" creationId="{09C67E05-AB69-4EF3-9322-C0B4FFCCE828}"/>
          </ac:picMkLst>
        </pc:picChg>
        <pc:picChg chg="add mod">
          <ac:chgData name="Aurelien Domont" userId="6da7715ce44349b3" providerId="LiveId" clId="{2349E0AC-9333-4F13-B2C9-E74906101359}" dt="2021-09-09T05:53:47.752" v="223"/>
          <ac:picMkLst>
            <pc:docMk/>
            <pc:sldMk cId="3126592537" sldId="2207"/>
            <ac:picMk id="27" creationId="{70FE4D46-C1AD-4485-9B51-C7D1AC4213C8}"/>
          </ac:picMkLst>
        </pc:picChg>
        <pc:picChg chg="add mod">
          <ac:chgData name="Aurelien Domont" userId="6da7715ce44349b3" providerId="LiveId" clId="{2349E0AC-9333-4F13-B2C9-E74906101359}" dt="2021-09-09T05:53:47.752" v="223"/>
          <ac:picMkLst>
            <pc:docMk/>
            <pc:sldMk cId="3126592537" sldId="2207"/>
            <ac:picMk id="28" creationId="{0BD87EAB-96D8-4CDE-9273-814C855A3DDA}"/>
          </ac:picMkLst>
        </pc:picChg>
        <pc:picChg chg="add mod">
          <ac:chgData name="Aurelien Domont" userId="6da7715ce44349b3" providerId="LiveId" clId="{2349E0AC-9333-4F13-B2C9-E74906101359}" dt="2021-09-09T05:53:47.752" v="223"/>
          <ac:picMkLst>
            <pc:docMk/>
            <pc:sldMk cId="3126592537" sldId="2207"/>
            <ac:picMk id="29" creationId="{F52CA9E3-D635-442C-A161-1C928D3369A9}"/>
          </ac:picMkLst>
        </pc:picChg>
        <pc:picChg chg="add mod">
          <ac:chgData name="Aurelien Domont" userId="6da7715ce44349b3" providerId="LiveId" clId="{2349E0AC-9333-4F13-B2C9-E74906101359}" dt="2021-09-09T05:53:47.752" v="223"/>
          <ac:picMkLst>
            <pc:docMk/>
            <pc:sldMk cId="3126592537" sldId="2207"/>
            <ac:picMk id="30" creationId="{C1CA2193-0121-413E-A001-FBFB64E250C2}"/>
          </ac:picMkLst>
        </pc:picChg>
      </pc:sldChg>
      <pc:sldChg chg="addSp delSp modSp add del mod">
        <pc:chgData name="Aurelien Domont" userId="6da7715ce44349b3" providerId="LiveId" clId="{2349E0AC-9333-4F13-B2C9-E74906101359}" dt="2021-09-13T06:02:14.043" v="775" actId="47"/>
        <pc:sldMkLst>
          <pc:docMk/>
          <pc:sldMk cId="1364633413" sldId="2208"/>
        </pc:sldMkLst>
        <pc:spChg chg="add mod">
          <ac:chgData name="Aurelien Domont" userId="6da7715ce44349b3" providerId="LiveId" clId="{2349E0AC-9333-4F13-B2C9-E74906101359}" dt="2021-09-09T05:56:48.182" v="232"/>
          <ac:spMkLst>
            <pc:docMk/>
            <pc:sldMk cId="1364633413" sldId="2208"/>
            <ac:spMk id="15" creationId="{6B2886F7-2457-48B9-B1D9-D4A139D6CA8E}"/>
          </ac:spMkLst>
        </pc:spChg>
        <pc:spChg chg="mod">
          <ac:chgData name="Aurelien Domont" userId="6da7715ce44349b3" providerId="LiveId" clId="{2349E0AC-9333-4F13-B2C9-E74906101359}" dt="2021-09-09T05:56:39.421" v="230" actId="20577"/>
          <ac:spMkLst>
            <pc:docMk/>
            <pc:sldMk cId="1364633413" sldId="2208"/>
            <ac:spMk id="16" creationId="{6C2BB713-9637-4B9B-938F-E9768876782A}"/>
          </ac:spMkLst>
        </pc:spChg>
        <pc:spChg chg="add mod">
          <ac:chgData name="Aurelien Domont" userId="6da7715ce44349b3" providerId="LiveId" clId="{2349E0AC-9333-4F13-B2C9-E74906101359}" dt="2021-09-09T05:56:48.182" v="232"/>
          <ac:spMkLst>
            <pc:docMk/>
            <pc:sldMk cId="1364633413" sldId="2208"/>
            <ac:spMk id="17" creationId="{7683B72C-CD47-4C45-95A5-12C07D45017B}"/>
          </ac:spMkLst>
        </pc:spChg>
        <pc:spChg chg="add mod">
          <ac:chgData name="Aurelien Domont" userId="6da7715ce44349b3" providerId="LiveId" clId="{2349E0AC-9333-4F13-B2C9-E74906101359}" dt="2021-09-09T05:56:48.182" v="232"/>
          <ac:spMkLst>
            <pc:docMk/>
            <pc:sldMk cId="1364633413" sldId="2208"/>
            <ac:spMk id="18" creationId="{676F5070-8D34-494E-AAA4-5E81DA1F0A14}"/>
          </ac:spMkLst>
        </pc:spChg>
        <pc:spChg chg="add mod">
          <ac:chgData name="Aurelien Domont" userId="6da7715ce44349b3" providerId="LiveId" clId="{2349E0AC-9333-4F13-B2C9-E74906101359}" dt="2021-09-09T05:56:48.182" v="232"/>
          <ac:spMkLst>
            <pc:docMk/>
            <pc:sldMk cId="1364633413" sldId="2208"/>
            <ac:spMk id="19" creationId="{7A56B016-EEFB-467C-9BEC-0744975EC113}"/>
          </ac:spMkLst>
        </pc:spChg>
        <pc:spChg chg="del">
          <ac:chgData name="Aurelien Domont" userId="6da7715ce44349b3" providerId="LiveId" clId="{2349E0AC-9333-4F13-B2C9-E74906101359}" dt="2021-09-09T05:56:47.881" v="231" actId="478"/>
          <ac:spMkLst>
            <pc:docMk/>
            <pc:sldMk cId="1364633413" sldId="2208"/>
            <ac:spMk id="21" creationId="{BDC4347E-732F-4CBB-9F1F-43DFA73E2480}"/>
          </ac:spMkLst>
        </pc:spChg>
        <pc:spChg chg="del">
          <ac:chgData name="Aurelien Domont" userId="6da7715ce44349b3" providerId="LiveId" clId="{2349E0AC-9333-4F13-B2C9-E74906101359}" dt="2021-09-09T05:56:47.881" v="231" actId="478"/>
          <ac:spMkLst>
            <pc:docMk/>
            <pc:sldMk cId="1364633413" sldId="2208"/>
            <ac:spMk id="22" creationId="{1FE6A84D-F23A-4A92-942F-F59499C4998E}"/>
          </ac:spMkLst>
        </pc:spChg>
        <pc:spChg chg="del">
          <ac:chgData name="Aurelien Domont" userId="6da7715ce44349b3" providerId="LiveId" clId="{2349E0AC-9333-4F13-B2C9-E74906101359}" dt="2021-09-09T05:56:47.881" v="231" actId="478"/>
          <ac:spMkLst>
            <pc:docMk/>
            <pc:sldMk cId="1364633413" sldId="2208"/>
            <ac:spMk id="23" creationId="{38B66352-7F18-40E6-805A-E76E9D76FEBA}"/>
          </ac:spMkLst>
        </pc:spChg>
        <pc:spChg chg="del">
          <ac:chgData name="Aurelien Domont" userId="6da7715ce44349b3" providerId="LiveId" clId="{2349E0AC-9333-4F13-B2C9-E74906101359}" dt="2021-09-09T05:56:47.881" v="231" actId="478"/>
          <ac:spMkLst>
            <pc:docMk/>
            <pc:sldMk cId="1364633413" sldId="2208"/>
            <ac:spMk id="24" creationId="{F69DCE93-91F1-47B7-8667-A6F5F9DFF108}"/>
          </ac:spMkLst>
        </pc:spChg>
        <pc:spChg chg="del">
          <ac:chgData name="Aurelien Domont" userId="6da7715ce44349b3" providerId="LiveId" clId="{2349E0AC-9333-4F13-B2C9-E74906101359}" dt="2021-09-09T05:56:47.881" v="231" actId="478"/>
          <ac:spMkLst>
            <pc:docMk/>
            <pc:sldMk cId="1364633413" sldId="2208"/>
            <ac:spMk id="26" creationId="{C07B01CE-E3A4-4425-8FDD-E2E1938F231E}"/>
          </ac:spMkLst>
        </pc:spChg>
        <pc:spChg chg="add mod">
          <ac:chgData name="Aurelien Domont" userId="6da7715ce44349b3" providerId="LiveId" clId="{2349E0AC-9333-4F13-B2C9-E74906101359}" dt="2021-09-09T05:56:48.182" v="232"/>
          <ac:spMkLst>
            <pc:docMk/>
            <pc:sldMk cId="1364633413" sldId="2208"/>
            <ac:spMk id="31" creationId="{5DA67E3D-59A5-47C1-A7AF-6AFD7BED1AE1}"/>
          </ac:spMkLst>
        </pc:spChg>
        <pc:picChg chg="add mod">
          <ac:chgData name="Aurelien Domont" userId="6da7715ce44349b3" providerId="LiveId" clId="{2349E0AC-9333-4F13-B2C9-E74906101359}" dt="2021-09-09T05:56:48.182" v="232"/>
          <ac:picMkLst>
            <pc:docMk/>
            <pc:sldMk cId="1364633413" sldId="2208"/>
            <ac:picMk id="20" creationId="{B6900531-A23E-429E-8A70-7B9B1C76B53E}"/>
          </ac:picMkLst>
        </pc:picChg>
        <pc:picChg chg="del">
          <ac:chgData name="Aurelien Domont" userId="6da7715ce44349b3" providerId="LiveId" clId="{2349E0AC-9333-4F13-B2C9-E74906101359}" dt="2021-09-09T05:56:47.881" v="231" actId="478"/>
          <ac:picMkLst>
            <pc:docMk/>
            <pc:sldMk cId="1364633413" sldId="2208"/>
            <ac:picMk id="25" creationId="{09C67E05-AB69-4EF3-9322-C0B4FFCCE828}"/>
          </ac:picMkLst>
        </pc:picChg>
        <pc:picChg chg="del">
          <ac:chgData name="Aurelien Domont" userId="6da7715ce44349b3" providerId="LiveId" clId="{2349E0AC-9333-4F13-B2C9-E74906101359}" dt="2021-09-09T05:56:47.881" v="231" actId="478"/>
          <ac:picMkLst>
            <pc:docMk/>
            <pc:sldMk cId="1364633413" sldId="2208"/>
            <ac:picMk id="27" creationId="{70FE4D46-C1AD-4485-9B51-C7D1AC4213C8}"/>
          </ac:picMkLst>
        </pc:picChg>
        <pc:picChg chg="del">
          <ac:chgData name="Aurelien Domont" userId="6da7715ce44349b3" providerId="LiveId" clId="{2349E0AC-9333-4F13-B2C9-E74906101359}" dt="2021-09-09T05:56:47.881" v="231" actId="478"/>
          <ac:picMkLst>
            <pc:docMk/>
            <pc:sldMk cId="1364633413" sldId="2208"/>
            <ac:picMk id="28" creationId="{0BD87EAB-96D8-4CDE-9273-814C855A3DDA}"/>
          </ac:picMkLst>
        </pc:picChg>
        <pc:picChg chg="del">
          <ac:chgData name="Aurelien Domont" userId="6da7715ce44349b3" providerId="LiveId" clId="{2349E0AC-9333-4F13-B2C9-E74906101359}" dt="2021-09-09T05:56:47.881" v="231" actId="478"/>
          <ac:picMkLst>
            <pc:docMk/>
            <pc:sldMk cId="1364633413" sldId="2208"/>
            <ac:picMk id="29" creationId="{F52CA9E3-D635-442C-A161-1C928D3369A9}"/>
          </ac:picMkLst>
        </pc:picChg>
        <pc:picChg chg="del">
          <ac:chgData name="Aurelien Domont" userId="6da7715ce44349b3" providerId="LiveId" clId="{2349E0AC-9333-4F13-B2C9-E74906101359}" dt="2021-09-09T05:56:47.881" v="231" actId="478"/>
          <ac:picMkLst>
            <pc:docMk/>
            <pc:sldMk cId="1364633413" sldId="2208"/>
            <ac:picMk id="30" creationId="{C1CA2193-0121-413E-A001-FBFB64E250C2}"/>
          </ac:picMkLst>
        </pc:picChg>
        <pc:picChg chg="add mod">
          <ac:chgData name="Aurelien Domont" userId="6da7715ce44349b3" providerId="LiveId" clId="{2349E0AC-9333-4F13-B2C9-E74906101359}" dt="2021-09-09T05:56:48.182" v="232"/>
          <ac:picMkLst>
            <pc:docMk/>
            <pc:sldMk cId="1364633413" sldId="2208"/>
            <ac:picMk id="32" creationId="{E5C0147F-4A20-4759-B5DE-F458B90BE088}"/>
          </ac:picMkLst>
        </pc:picChg>
        <pc:picChg chg="add mod">
          <ac:chgData name="Aurelien Domont" userId="6da7715ce44349b3" providerId="LiveId" clId="{2349E0AC-9333-4F13-B2C9-E74906101359}" dt="2021-09-09T05:56:48.182" v="232"/>
          <ac:picMkLst>
            <pc:docMk/>
            <pc:sldMk cId="1364633413" sldId="2208"/>
            <ac:picMk id="33" creationId="{C71371A1-E4C2-438B-B60E-3FE09563F17D}"/>
          </ac:picMkLst>
        </pc:picChg>
        <pc:picChg chg="add mod">
          <ac:chgData name="Aurelien Domont" userId="6da7715ce44349b3" providerId="LiveId" clId="{2349E0AC-9333-4F13-B2C9-E74906101359}" dt="2021-09-09T05:56:48.182" v="232"/>
          <ac:picMkLst>
            <pc:docMk/>
            <pc:sldMk cId="1364633413" sldId="2208"/>
            <ac:picMk id="34" creationId="{0E37A9C0-1F7D-49DA-B7AF-99E67ED5A834}"/>
          </ac:picMkLst>
        </pc:picChg>
        <pc:picChg chg="add mod">
          <ac:chgData name="Aurelien Domont" userId="6da7715ce44349b3" providerId="LiveId" clId="{2349E0AC-9333-4F13-B2C9-E74906101359}" dt="2021-09-09T05:56:48.182" v="232"/>
          <ac:picMkLst>
            <pc:docMk/>
            <pc:sldMk cId="1364633413" sldId="2208"/>
            <ac:picMk id="35" creationId="{76B635DC-EF5A-4742-BF57-4F9906E4287E}"/>
          </ac:picMkLst>
        </pc:picChg>
      </pc:sldChg>
      <pc:sldChg chg="addSp delSp modSp add del mod">
        <pc:chgData name="Aurelien Domont" userId="6da7715ce44349b3" providerId="LiveId" clId="{2349E0AC-9333-4F13-B2C9-E74906101359}" dt="2022-01-25T06:24:52.236" v="4664" actId="47"/>
        <pc:sldMkLst>
          <pc:docMk/>
          <pc:sldMk cId="1187449849" sldId="2209"/>
        </pc:sldMkLst>
        <pc:spChg chg="add mod">
          <ac:chgData name="Aurelien Domont" userId="6da7715ce44349b3" providerId="LiveId" clId="{2349E0AC-9333-4F13-B2C9-E74906101359}" dt="2021-09-13T06:04:44.489" v="785" actId="108"/>
          <ac:spMkLst>
            <pc:docMk/>
            <pc:sldMk cId="1187449849" sldId="2209"/>
            <ac:spMk id="15" creationId="{6AA77AFF-B802-4BB1-BE33-1E6A0977B49F}"/>
          </ac:spMkLst>
        </pc:spChg>
        <pc:spChg chg="del">
          <ac:chgData name="Aurelien Domont" userId="6da7715ce44349b3" providerId="LiveId" clId="{2349E0AC-9333-4F13-B2C9-E74906101359}" dt="2021-09-09T05:58:20.335" v="254" actId="478"/>
          <ac:spMkLst>
            <pc:docMk/>
            <pc:sldMk cId="1187449849" sldId="2209"/>
            <ac:spMk id="15" creationId="{6B2886F7-2457-48B9-B1D9-D4A139D6CA8E}"/>
          </ac:spMkLst>
        </pc:spChg>
        <pc:spChg chg="mod">
          <ac:chgData name="Aurelien Domont" userId="6da7715ce44349b3" providerId="LiveId" clId="{2349E0AC-9333-4F13-B2C9-E74906101359}" dt="2021-09-09T05:58:14.405" v="253" actId="20577"/>
          <ac:spMkLst>
            <pc:docMk/>
            <pc:sldMk cId="1187449849" sldId="2209"/>
            <ac:spMk id="16" creationId="{6C2BB713-9637-4B9B-938F-E9768876782A}"/>
          </ac:spMkLst>
        </pc:spChg>
        <pc:spChg chg="add mod">
          <ac:chgData name="Aurelien Domont" userId="6da7715ce44349b3" providerId="LiveId" clId="{2349E0AC-9333-4F13-B2C9-E74906101359}" dt="2021-09-13T06:04:38.972" v="783" actId="108"/>
          <ac:spMkLst>
            <pc:docMk/>
            <pc:sldMk cId="1187449849" sldId="2209"/>
            <ac:spMk id="17" creationId="{667224F8-0556-4323-935F-B797F849D8F3}"/>
          </ac:spMkLst>
        </pc:spChg>
        <pc:spChg chg="del">
          <ac:chgData name="Aurelien Domont" userId="6da7715ce44349b3" providerId="LiveId" clId="{2349E0AC-9333-4F13-B2C9-E74906101359}" dt="2021-09-09T05:58:20.335" v="254" actId="478"/>
          <ac:spMkLst>
            <pc:docMk/>
            <pc:sldMk cId="1187449849" sldId="2209"/>
            <ac:spMk id="17" creationId="{7683B72C-CD47-4C45-95A5-12C07D45017B}"/>
          </ac:spMkLst>
        </pc:spChg>
        <pc:spChg chg="add mod">
          <ac:chgData name="Aurelien Domont" userId="6da7715ce44349b3" providerId="LiveId" clId="{2349E0AC-9333-4F13-B2C9-E74906101359}" dt="2021-09-13T06:04:35.070" v="782"/>
          <ac:spMkLst>
            <pc:docMk/>
            <pc:sldMk cId="1187449849" sldId="2209"/>
            <ac:spMk id="18" creationId="{4D6638B1-B8F2-402E-AE59-61BF456FD3F0}"/>
          </ac:spMkLst>
        </pc:spChg>
        <pc:spChg chg="del">
          <ac:chgData name="Aurelien Domont" userId="6da7715ce44349b3" providerId="LiveId" clId="{2349E0AC-9333-4F13-B2C9-E74906101359}" dt="2021-09-09T05:58:20.335" v="254" actId="478"/>
          <ac:spMkLst>
            <pc:docMk/>
            <pc:sldMk cId="1187449849" sldId="2209"/>
            <ac:spMk id="18" creationId="{676F5070-8D34-494E-AAA4-5E81DA1F0A14}"/>
          </ac:spMkLst>
        </pc:spChg>
        <pc:spChg chg="add mod">
          <ac:chgData name="Aurelien Domont" userId="6da7715ce44349b3" providerId="LiveId" clId="{2349E0AC-9333-4F13-B2C9-E74906101359}" dt="2021-09-13T06:04:35.070" v="782"/>
          <ac:spMkLst>
            <pc:docMk/>
            <pc:sldMk cId="1187449849" sldId="2209"/>
            <ac:spMk id="19" creationId="{14F649C0-9326-4D45-8F1F-B0326A90CC14}"/>
          </ac:spMkLst>
        </pc:spChg>
        <pc:spChg chg="del">
          <ac:chgData name="Aurelien Domont" userId="6da7715ce44349b3" providerId="LiveId" clId="{2349E0AC-9333-4F13-B2C9-E74906101359}" dt="2021-09-09T05:58:20.335" v="254" actId="478"/>
          <ac:spMkLst>
            <pc:docMk/>
            <pc:sldMk cId="1187449849" sldId="2209"/>
            <ac:spMk id="19" creationId="{7A56B016-EEFB-467C-9BEC-0744975EC113}"/>
          </ac:spMkLst>
        </pc:spChg>
        <pc:spChg chg="add del mod">
          <ac:chgData name="Aurelien Domont" userId="6da7715ce44349b3" providerId="LiveId" clId="{2349E0AC-9333-4F13-B2C9-E74906101359}" dt="2021-09-13T06:04:29.547" v="781" actId="478"/>
          <ac:spMkLst>
            <pc:docMk/>
            <pc:sldMk cId="1187449849" sldId="2209"/>
            <ac:spMk id="21" creationId="{7CA623C5-7551-4686-8482-61B644C46D69}"/>
          </ac:spMkLst>
        </pc:spChg>
        <pc:spChg chg="add del mod">
          <ac:chgData name="Aurelien Domont" userId="6da7715ce44349b3" providerId="LiveId" clId="{2349E0AC-9333-4F13-B2C9-E74906101359}" dt="2021-09-13T06:04:29.547" v="781" actId="478"/>
          <ac:spMkLst>
            <pc:docMk/>
            <pc:sldMk cId="1187449849" sldId="2209"/>
            <ac:spMk id="22" creationId="{C99BD222-3085-49B0-B278-6D2EB663036D}"/>
          </ac:spMkLst>
        </pc:spChg>
        <pc:spChg chg="add del mod">
          <ac:chgData name="Aurelien Domont" userId="6da7715ce44349b3" providerId="LiveId" clId="{2349E0AC-9333-4F13-B2C9-E74906101359}" dt="2021-09-13T06:04:29.547" v="781" actId="478"/>
          <ac:spMkLst>
            <pc:docMk/>
            <pc:sldMk cId="1187449849" sldId="2209"/>
            <ac:spMk id="23" creationId="{011FFF89-4E7E-4FF0-8D3A-E5D3C5034069}"/>
          </ac:spMkLst>
        </pc:spChg>
        <pc:spChg chg="add del mod">
          <ac:chgData name="Aurelien Domont" userId="6da7715ce44349b3" providerId="LiveId" clId="{2349E0AC-9333-4F13-B2C9-E74906101359}" dt="2021-09-13T06:04:29.547" v="781" actId="478"/>
          <ac:spMkLst>
            <pc:docMk/>
            <pc:sldMk cId="1187449849" sldId="2209"/>
            <ac:spMk id="24" creationId="{5646DF68-CB4C-4082-A956-690DBCB11CB5}"/>
          </ac:spMkLst>
        </pc:spChg>
        <pc:spChg chg="add del mod">
          <ac:chgData name="Aurelien Domont" userId="6da7715ce44349b3" providerId="LiveId" clId="{2349E0AC-9333-4F13-B2C9-E74906101359}" dt="2021-09-13T06:04:29.547" v="781" actId="478"/>
          <ac:spMkLst>
            <pc:docMk/>
            <pc:sldMk cId="1187449849" sldId="2209"/>
            <ac:spMk id="26" creationId="{296DB536-68C0-4BE3-90B5-9CAF1DC5A468}"/>
          </ac:spMkLst>
        </pc:spChg>
        <pc:spChg chg="add mod">
          <ac:chgData name="Aurelien Domont" userId="6da7715ce44349b3" providerId="LiveId" clId="{2349E0AC-9333-4F13-B2C9-E74906101359}" dt="2021-09-13T07:13:25.038" v="1532"/>
          <ac:spMkLst>
            <pc:docMk/>
            <pc:sldMk cId="1187449849" sldId="2209"/>
            <ac:spMk id="31" creationId="{3EA7DED3-27EE-45F6-9C7F-5B745A79513B}"/>
          </ac:spMkLst>
        </pc:spChg>
        <pc:spChg chg="del">
          <ac:chgData name="Aurelien Domont" userId="6da7715ce44349b3" providerId="LiveId" clId="{2349E0AC-9333-4F13-B2C9-E74906101359}" dt="2021-09-09T05:58:20.335" v="254" actId="478"/>
          <ac:spMkLst>
            <pc:docMk/>
            <pc:sldMk cId="1187449849" sldId="2209"/>
            <ac:spMk id="31" creationId="{5DA67E3D-59A5-47C1-A7AF-6AFD7BED1AE1}"/>
          </ac:spMkLst>
        </pc:spChg>
        <pc:spChg chg="add mod">
          <ac:chgData name="Aurelien Domont" userId="6da7715ce44349b3" providerId="LiveId" clId="{2349E0AC-9333-4F13-B2C9-E74906101359}" dt="2021-09-13T06:04:35.070" v="782"/>
          <ac:spMkLst>
            <pc:docMk/>
            <pc:sldMk cId="1187449849" sldId="2209"/>
            <ac:spMk id="36" creationId="{8795193E-C927-4885-A3D8-8ACFD9D36B7F}"/>
          </ac:spMkLst>
        </pc:spChg>
        <pc:picChg chg="del">
          <ac:chgData name="Aurelien Domont" userId="6da7715ce44349b3" providerId="LiveId" clId="{2349E0AC-9333-4F13-B2C9-E74906101359}" dt="2021-09-09T05:58:20.335" v="254" actId="478"/>
          <ac:picMkLst>
            <pc:docMk/>
            <pc:sldMk cId="1187449849" sldId="2209"/>
            <ac:picMk id="20" creationId="{B6900531-A23E-429E-8A70-7B9B1C76B53E}"/>
          </ac:picMkLst>
        </pc:picChg>
        <pc:picChg chg="add mod">
          <ac:chgData name="Aurelien Domont" userId="6da7715ce44349b3" providerId="LiveId" clId="{2349E0AC-9333-4F13-B2C9-E74906101359}" dt="2021-09-13T06:04:35.070" v="782"/>
          <ac:picMkLst>
            <pc:docMk/>
            <pc:sldMk cId="1187449849" sldId="2209"/>
            <ac:picMk id="20" creationId="{DFC6F6ED-CA02-42A0-8016-14C67D0AF905}"/>
          </ac:picMkLst>
        </pc:picChg>
        <pc:picChg chg="add del mod">
          <ac:chgData name="Aurelien Domont" userId="6da7715ce44349b3" providerId="LiveId" clId="{2349E0AC-9333-4F13-B2C9-E74906101359}" dt="2021-09-13T06:04:29.547" v="781" actId="478"/>
          <ac:picMkLst>
            <pc:docMk/>
            <pc:sldMk cId="1187449849" sldId="2209"/>
            <ac:picMk id="25" creationId="{2BEBBC07-C2E7-4F90-848B-3D4FD110D2A3}"/>
          </ac:picMkLst>
        </pc:picChg>
        <pc:picChg chg="add del mod">
          <ac:chgData name="Aurelien Domont" userId="6da7715ce44349b3" providerId="LiveId" clId="{2349E0AC-9333-4F13-B2C9-E74906101359}" dt="2021-09-13T06:04:29.547" v="781" actId="478"/>
          <ac:picMkLst>
            <pc:docMk/>
            <pc:sldMk cId="1187449849" sldId="2209"/>
            <ac:picMk id="27" creationId="{7404A5A7-6D83-4AAF-85A4-97C0AE12A4D4}"/>
          </ac:picMkLst>
        </pc:picChg>
        <pc:picChg chg="add del mod">
          <ac:chgData name="Aurelien Domont" userId="6da7715ce44349b3" providerId="LiveId" clId="{2349E0AC-9333-4F13-B2C9-E74906101359}" dt="2021-09-13T06:04:29.547" v="781" actId="478"/>
          <ac:picMkLst>
            <pc:docMk/>
            <pc:sldMk cId="1187449849" sldId="2209"/>
            <ac:picMk id="28" creationId="{7BD7F011-E132-419C-A588-FD04165EC37C}"/>
          </ac:picMkLst>
        </pc:picChg>
        <pc:picChg chg="add del mod">
          <ac:chgData name="Aurelien Domont" userId="6da7715ce44349b3" providerId="LiveId" clId="{2349E0AC-9333-4F13-B2C9-E74906101359}" dt="2021-09-13T06:04:29.547" v="781" actId="478"/>
          <ac:picMkLst>
            <pc:docMk/>
            <pc:sldMk cId="1187449849" sldId="2209"/>
            <ac:picMk id="29" creationId="{F429DC31-F3D8-4D14-A3E6-9102653CED1B}"/>
          </ac:picMkLst>
        </pc:picChg>
        <pc:picChg chg="add del mod">
          <ac:chgData name="Aurelien Domont" userId="6da7715ce44349b3" providerId="LiveId" clId="{2349E0AC-9333-4F13-B2C9-E74906101359}" dt="2021-09-13T06:04:29.547" v="781" actId="478"/>
          <ac:picMkLst>
            <pc:docMk/>
            <pc:sldMk cId="1187449849" sldId="2209"/>
            <ac:picMk id="30" creationId="{4ABB8513-0FE2-40FC-ABDC-9D2D37724AE7}"/>
          </ac:picMkLst>
        </pc:picChg>
        <pc:picChg chg="add mod">
          <ac:chgData name="Aurelien Domont" userId="6da7715ce44349b3" providerId="LiveId" clId="{2349E0AC-9333-4F13-B2C9-E74906101359}" dt="2021-09-13T06:04:41.782" v="784" actId="108"/>
          <ac:picMkLst>
            <pc:docMk/>
            <pc:sldMk cId="1187449849" sldId="2209"/>
            <ac:picMk id="32" creationId="{764851BA-E442-4565-9A00-F6645F03CFA8}"/>
          </ac:picMkLst>
        </pc:picChg>
        <pc:picChg chg="del">
          <ac:chgData name="Aurelien Domont" userId="6da7715ce44349b3" providerId="LiveId" clId="{2349E0AC-9333-4F13-B2C9-E74906101359}" dt="2021-09-09T05:58:20.335" v="254" actId="478"/>
          <ac:picMkLst>
            <pc:docMk/>
            <pc:sldMk cId="1187449849" sldId="2209"/>
            <ac:picMk id="32" creationId="{E5C0147F-4A20-4759-B5DE-F458B90BE088}"/>
          </ac:picMkLst>
        </pc:picChg>
        <pc:picChg chg="add mod">
          <ac:chgData name="Aurelien Domont" userId="6da7715ce44349b3" providerId="LiveId" clId="{2349E0AC-9333-4F13-B2C9-E74906101359}" dt="2021-09-13T06:04:46.888" v="786" actId="108"/>
          <ac:picMkLst>
            <pc:docMk/>
            <pc:sldMk cId="1187449849" sldId="2209"/>
            <ac:picMk id="33" creationId="{BEA33173-4B54-46FB-A742-8D6667223068}"/>
          </ac:picMkLst>
        </pc:picChg>
        <pc:picChg chg="del">
          <ac:chgData name="Aurelien Domont" userId="6da7715ce44349b3" providerId="LiveId" clId="{2349E0AC-9333-4F13-B2C9-E74906101359}" dt="2021-09-09T05:58:20.335" v="254" actId="478"/>
          <ac:picMkLst>
            <pc:docMk/>
            <pc:sldMk cId="1187449849" sldId="2209"/>
            <ac:picMk id="33" creationId="{C71371A1-E4C2-438B-B60E-3FE09563F17D}"/>
          </ac:picMkLst>
        </pc:picChg>
        <pc:picChg chg="del">
          <ac:chgData name="Aurelien Domont" userId="6da7715ce44349b3" providerId="LiveId" clId="{2349E0AC-9333-4F13-B2C9-E74906101359}" dt="2021-09-09T05:58:20.335" v="254" actId="478"/>
          <ac:picMkLst>
            <pc:docMk/>
            <pc:sldMk cId="1187449849" sldId="2209"/>
            <ac:picMk id="34" creationId="{0E37A9C0-1F7D-49DA-B7AF-99E67ED5A834}"/>
          </ac:picMkLst>
        </pc:picChg>
        <pc:picChg chg="add mod">
          <ac:chgData name="Aurelien Domont" userId="6da7715ce44349b3" providerId="LiveId" clId="{2349E0AC-9333-4F13-B2C9-E74906101359}" dt="2021-09-13T06:04:35.070" v="782"/>
          <ac:picMkLst>
            <pc:docMk/>
            <pc:sldMk cId="1187449849" sldId="2209"/>
            <ac:picMk id="34" creationId="{9FDFD039-52E4-47B3-9AE3-0D3A2FFE39B8}"/>
          </ac:picMkLst>
        </pc:picChg>
        <pc:picChg chg="add mod">
          <ac:chgData name="Aurelien Domont" userId="6da7715ce44349b3" providerId="LiveId" clId="{2349E0AC-9333-4F13-B2C9-E74906101359}" dt="2021-09-13T06:04:35.070" v="782"/>
          <ac:picMkLst>
            <pc:docMk/>
            <pc:sldMk cId="1187449849" sldId="2209"/>
            <ac:picMk id="35" creationId="{309B703F-85D1-40A8-9F45-493A59673A0A}"/>
          </ac:picMkLst>
        </pc:picChg>
        <pc:picChg chg="del">
          <ac:chgData name="Aurelien Domont" userId="6da7715ce44349b3" providerId="LiveId" clId="{2349E0AC-9333-4F13-B2C9-E74906101359}" dt="2021-09-09T05:58:20.335" v="254" actId="478"/>
          <ac:picMkLst>
            <pc:docMk/>
            <pc:sldMk cId="1187449849" sldId="2209"/>
            <ac:picMk id="35" creationId="{76B635DC-EF5A-4742-BF57-4F9906E4287E}"/>
          </ac:picMkLst>
        </pc:picChg>
        <pc:picChg chg="add mod">
          <ac:chgData name="Aurelien Domont" userId="6da7715ce44349b3" providerId="LiveId" clId="{2349E0AC-9333-4F13-B2C9-E74906101359}" dt="2021-09-13T06:04:35.070" v="782"/>
          <ac:picMkLst>
            <pc:docMk/>
            <pc:sldMk cId="1187449849" sldId="2209"/>
            <ac:picMk id="37" creationId="{D7C90B81-326C-4ACE-858A-6069F1EEF2B9}"/>
          </ac:picMkLst>
        </pc:picChg>
      </pc:sldChg>
      <pc:sldChg chg="addSp delSp modSp add del mod">
        <pc:chgData name="Aurelien Domont" userId="6da7715ce44349b3" providerId="LiveId" clId="{2349E0AC-9333-4F13-B2C9-E74906101359}" dt="2022-01-25T06:25:11.230" v="4669" actId="47"/>
        <pc:sldMkLst>
          <pc:docMk/>
          <pc:sldMk cId="2094671344" sldId="2210"/>
        </pc:sldMkLst>
        <pc:spChg chg="add del mod">
          <ac:chgData name="Aurelien Domont" userId="6da7715ce44349b3" providerId="LiveId" clId="{2349E0AC-9333-4F13-B2C9-E74906101359}" dt="2021-09-13T07:10:50.995" v="1508" actId="478"/>
          <ac:spMkLst>
            <pc:docMk/>
            <pc:sldMk cId="2094671344" sldId="2210"/>
            <ac:spMk id="15" creationId="{8A7BC17A-109F-476E-B942-7AE3D7588D52}"/>
          </ac:spMkLst>
        </pc:spChg>
        <pc:spChg chg="mod">
          <ac:chgData name="Aurelien Domont" userId="6da7715ce44349b3" providerId="LiveId" clId="{2349E0AC-9333-4F13-B2C9-E74906101359}" dt="2021-09-09T05:59:10.106" v="262" actId="6549"/>
          <ac:spMkLst>
            <pc:docMk/>
            <pc:sldMk cId="2094671344" sldId="2210"/>
            <ac:spMk id="16" creationId="{6C2BB713-9637-4B9B-938F-E9768876782A}"/>
          </ac:spMkLst>
        </pc:spChg>
        <pc:spChg chg="add del mod">
          <ac:chgData name="Aurelien Domont" userId="6da7715ce44349b3" providerId="LiveId" clId="{2349E0AC-9333-4F13-B2C9-E74906101359}" dt="2021-09-13T07:10:50.995" v="1508" actId="478"/>
          <ac:spMkLst>
            <pc:docMk/>
            <pc:sldMk cId="2094671344" sldId="2210"/>
            <ac:spMk id="17" creationId="{E808FA01-0EBC-4427-B542-075DDB18E079}"/>
          </ac:spMkLst>
        </pc:spChg>
        <pc:spChg chg="add del mod">
          <ac:chgData name="Aurelien Domont" userId="6da7715ce44349b3" providerId="LiveId" clId="{2349E0AC-9333-4F13-B2C9-E74906101359}" dt="2021-09-13T07:10:50.995" v="1508" actId="478"/>
          <ac:spMkLst>
            <pc:docMk/>
            <pc:sldMk cId="2094671344" sldId="2210"/>
            <ac:spMk id="18" creationId="{43EE83B8-ABED-43F5-9216-FDCC5E7B35C2}"/>
          </ac:spMkLst>
        </pc:spChg>
        <pc:spChg chg="add del mod">
          <ac:chgData name="Aurelien Domont" userId="6da7715ce44349b3" providerId="LiveId" clId="{2349E0AC-9333-4F13-B2C9-E74906101359}" dt="2021-09-13T07:10:50.995" v="1508" actId="478"/>
          <ac:spMkLst>
            <pc:docMk/>
            <pc:sldMk cId="2094671344" sldId="2210"/>
            <ac:spMk id="19" creationId="{24CA7CA0-42F7-44D4-B1B2-1F234CA2FA0F}"/>
          </ac:spMkLst>
        </pc:spChg>
        <pc:spChg chg="del">
          <ac:chgData name="Aurelien Domont" userId="6da7715ce44349b3" providerId="LiveId" clId="{2349E0AC-9333-4F13-B2C9-E74906101359}" dt="2021-09-09T05:59:13.571" v="263" actId="478"/>
          <ac:spMkLst>
            <pc:docMk/>
            <pc:sldMk cId="2094671344" sldId="2210"/>
            <ac:spMk id="21" creationId="{7CA623C5-7551-4686-8482-61B644C46D69}"/>
          </ac:spMkLst>
        </pc:spChg>
        <pc:spChg chg="add mod">
          <ac:chgData name="Aurelien Domont" userId="6da7715ce44349b3" providerId="LiveId" clId="{2349E0AC-9333-4F13-B2C9-E74906101359}" dt="2021-09-13T07:10:51.183" v="1509"/>
          <ac:spMkLst>
            <pc:docMk/>
            <pc:sldMk cId="2094671344" sldId="2210"/>
            <ac:spMk id="21" creationId="{C17B6A3F-2071-4A6E-AEB6-229AEA3F8CD0}"/>
          </ac:spMkLst>
        </pc:spChg>
        <pc:spChg chg="add mod">
          <ac:chgData name="Aurelien Domont" userId="6da7715ce44349b3" providerId="LiveId" clId="{2349E0AC-9333-4F13-B2C9-E74906101359}" dt="2021-09-13T07:11:04.989" v="1512" actId="108"/>
          <ac:spMkLst>
            <pc:docMk/>
            <pc:sldMk cId="2094671344" sldId="2210"/>
            <ac:spMk id="22" creationId="{B75D054B-1EBB-47FC-900A-D5F820920602}"/>
          </ac:spMkLst>
        </pc:spChg>
        <pc:spChg chg="del">
          <ac:chgData name="Aurelien Domont" userId="6da7715ce44349b3" providerId="LiveId" clId="{2349E0AC-9333-4F13-B2C9-E74906101359}" dt="2021-09-09T05:59:13.571" v="263" actId="478"/>
          <ac:spMkLst>
            <pc:docMk/>
            <pc:sldMk cId="2094671344" sldId="2210"/>
            <ac:spMk id="22" creationId="{C99BD222-3085-49B0-B278-6D2EB663036D}"/>
          </ac:spMkLst>
        </pc:spChg>
        <pc:spChg chg="del">
          <ac:chgData name="Aurelien Domont" userId="6da7715ce44349b3" providerId="LiveId" clId="{2349E0AC-9333-4F13-B2C9-E74906101359}" dt="2021-09-09T05:59:13.571" v="263" actId="478"/>
          <ac:spMkLst>
            <pc:docMk/>
            <pc:sldMk cId="2094671344" sldId="2210"/>
            <ac:spMk id="23" creationId="{011FFF89-4E7E-4FF0-8D3A-E5D3C5034069}"/>
          </ac:spMkLst>
        </pc:spChg>
        <pc:spChg chg="add mod">
          <ac:chgData name="Aurelien Domont" userId="6da7715ce44349b3" providerId="LiveId" clId="{2349E0AC-9333-4F13-B2C9-E74906101359}" dt="2021-09-13T07:11:00.580" v="1510" actId="108"/>
          <ac:spMkLst>
            <pc:docMk/>
            <pc:sldMk cId="2094671344" sldId="2210"/>
            <ac:spMk id="23" creationId="{5C4A5F46-0571-4A3F-AC36-20659439852F}"/>
          </ac:spMkLst>
        </pc:spChg>
        <pc:spChg chg="add mod">
          <ac:chgData name="Aurelien Domont" userId="6da7715ce44349b3" providerId="LiveId" clId="{2349E0AC-9333-4F13-B2C9-E74906101359}" dt="2021-09-13T07:10:51.183" v="1509"/>
          <ac:spMkLst>
            <pc:docMk/>
            <pc:sldMk cId="2094671344" sldId="2210"/>
            <ac:spMk id="24" creationId="{3163DBAE-A7AE-41C7-A3B4-B11EB9948D89}"/>
          </ac:spMkLst>
        </pc:spChg>
        <pc:spChg chg="del">
          <ac:chgData name="Aurelien Domont" userId="6da7715ce44349b3" providerId="LiveId" clId="{2349E0AC-9333-4F13-B2C9-E74906101359}" dt="2021-09-09T05:59:13.571" v="263" actId="478"/>
          <ac:spMkLst>
            <pc:docMk/>
            <pc:sldMk cId="2094671344" sldId="2210"/>
            <ac:spMk id="24" creationId="{5646DF68-CB4C-4082-A956-690DBCB11CB5}"/>
          </ac:spMkLst>
        </pc:spChg>
        <pc:spChg chg="add mod">
          <ac:chgData name="Aurelien Domont" userId="6da7715ce44349b3" providerId="LiveId" clId="{2349E0AC-9333-4F13-B2C9-E74906101359}" dt="2021-09-13T07:13:28.772" v="1533"/>
          <ac:spMkLst>
            <pc:docMk/>
            <pc:sldMk cId="2094671344" sldId="2210"/>
            <ac:spMk id="26" creationId="{059AADC8-B591-41CC-A425-DFA3B4089111}"/>
          </ac:spMkLst>
        </pc:spChg>
        <pc:spChg chg="del">
          <ac:chgData name="Aurelien Domont" userId="6da7715ce44349b3" providerId="LiveId" clId="{2349E0AC-9333-4F13-B2C9-E74906101359}" dt="2021-09-09T05:59:13.571" v="263" actId="478"/>
          <ac:spMkLst>
            <pc:docMk/>
            <pc:sldMk cId="2094671344" sldId="2210"/>
            <ac:spMk id="26" creationId="{296DB536-68C0-4BE3-90B5-9CAF1DC5A468}"/>
          </ac:spMkLst>
        </pc:spChg>
        <pc:spChg chg="add del mod">
          <ac:chgData name="Aurelien Domont" userId="6da7715ce44349b3" providerId="LiveId" clId="{2349E0AC-9333-4F13-B2C9-E74906101359}" dt="2021-09-13T07:10:50.995" v="1508" actId="478"/>
          <ac:spMkLst>
            <pc:docMk/>
            <pc:sldMk cId="2094671344" sldId="2210"/>
            <ac:spMk id="31" creationId="{9171B997-7BDA-4A3F-AA7A-16C20A960905}"/>
          </ac:spMkLst>
        </pc:spChg>
        <pc:spChg chg="add mod">
          <ac:chgData name="Aurelien Domont" userId="6da7715ce44349b3" providerId="LiveId" clId="{2349E0AC-9333-4F13-B2C9-E74906101359}" dt="2021-09-13T07:10:51.183" v="1509"/>
          <ac:spMkLst>
            <pc:docMk/>
            <pc:sldMk cId="2094671344" sldId="2210"/>
            <ac:spMk id="36" creationId="{4997F94A-7BBF-4F21-A4DE-1FC6AB192530}"/>
          </ac:spMkLst>
        </pc:spChg>
        <pc:picChg chg="add del mod">
          <ac:chgData name="Aurelien Domont" userId="6da7715ce44349b3" providerId="LiveId" clId="{2349E0AC-9333-4F13-B2C9-E74906101359}" dt="2021-09-13T07:10:50.995" v="1508" actId="478"/>
          <ac:picMkLst>
            <pc:docMk/>
            <pc:sldMk cId="2094671344" sldId="2210"/>
            <ac:picMk id="20" creationId="{569E2562-9CF9-430C-8AA5-AA7990E13F2C}"/>
          </ac:picMkLst>
        </pc:picChg>
        <pc:picChg chg="del">
          <ac:chgData name="Aurelien Domont" userId="6da7715ce44349b3" providerId="LiveId" clId="{2349E0AC-9333-4F13-B2C9-E74906101359}" dt="2021-09-09T05:59:13.571" v="263" actId="478"/>
          <ac:picMkLst>
            <pc:docMk/>
            <pc:sldMk cId="2094671344" sldId="2210"/>
            <ac:picMk id="25" creationId="{2BEBBC07-C2E7-4F90-848B-3D4FD110D2A3}"/>
          </ac:picMkLst>
        </pc:picChg>
        <pc:picChg chg="add mod">
          <ac:chgData name="Aurelien Domont" userId="6da7715ce44349b3" providerId="LiveId" clId="{2349E0AC-9333-4F13-B2C9-E74906101359}" dt="2021-09-13T07:10:51.183" v="1509"/>
          <ac:picMkLst>
            <pc:docMk/>
            <pc:sldMk cId="2094671344" sldId="2210"/>
            <ac:picMk id="25" creationId="{84535467-6A79-4BF4-A775-9D76A5C56359}"/>
          </ac:picMkLst>
        </pc:picChg>
        <pc:picChg chg="del">
          <ac:chgData name="Aurelien Domont" userId="6da7715ce44349b3" providerId="LiveId" clId="{2349E0AC-9333-4F13-B2C9-E74906101359}" dt="2021-09-09T05:59:13.571" v="263" actId="478"/>
          <ac:picMkLst>
            <pc:docMk/>
            <pc:sldMk cId="2094671344" sldId="2210"/>
            <ac:picMk id="27" creationId="{7404A5A7-6D83-4AAF-85A4-97C0AE12A4D4}"/>
          </ac:picMkLst>
        </pc:picChg>
        <pc:picChg chg="add mod">
          <ac:chgData name="Aurelien Domont" userId="6da7715ce44349b3" providerId="LiveId" clId="{2349E0AC-9333-4F13-B2C9-E74906101359}" dt="2021-09-13T07:11:07.444" v="1513" actId="108"/>
          <ac:picMkLst>
            <pc:docMk/>
            <pc:sldMk cId="2094671344" sldId="2210"/>
            <ac:picMk id="27" creationId="{81FAB0F2-1808-4F61-B226-665BAC8E63B5}"/>
          </ac:picMkLst>
        </pc:picChg>
        <pc:picChg chg="add mod">
          <ac:chgData name="Aurelien Domont" userId="6da7715ce44349b3" providerId="LiveId" clId="{2349E0AC-9333-4F13-B2C9-E74906101359}" dt="2021-09-13T07:10:51.183" v="1509"/>
          <ac:picMkLst>
            <pc:docMk/>
            <pc:sldMk cId="2094671344" sldId="2210"/>
            <ac:picMk id="28" creationId="{65D4D811-48D6-4DF0-AC07-72F9E025D6A9}"/>
          </ac:picMkLst>
        </pc:picChg>
        <pc:picChg chg="del">
          <ac:chgData name="Aurelien Domont" userId="6da7715ce44349b3" providerId="LiveId" clId="{2349E0AC-9333-4F13-B2C9-E74906101359}" dt="2021-09-09T05:59:13.571" v="263" actId="478"/>
          <ac:picMkLst>
            <pc:docMk/>
            <pc:sldMk cId="2094671344" sldId="2210"/>
            <ac:picMk id="28" creationId="{7BD7F011-E132-419C-A588-FD04165EC37C}"/>
          </ac:picMkLst>
        </pc:picChg>
        <pc:picChg chg="add mod">
          <ac:chgData name="Aurelien Domont" userId="6da7715ce44349b3" providerId="LiveId" clId="{2349E0AC-9333-4F13-B2C9-E74906101359}" dt="2021-09-13T07:11:02.828" v="1511" actId="108"/>
          <ac:picMkLst>
            <pc:docMk/>
            <pc:sldMk cId="2094671344" sldId="2210"/>
            <ac:picMk id="29" creationId="{BB6C81BF-5319-4B90-8D33-FE63CC91D77B}"/>
          </ac:picMkLst>
        </pc:picChg>
        <pc:picChg chg="del">
          <ac:chgData name="Aurelien Domont" userId="6da7715ce44349b3" providerId="LiveId" clId="{2349E0AC-9333-4F13-B2C9-E74906101359}" dt="2021-09-09T05:59:13.571" v="263" actId="478"/>
          <ac:picMkLst>
            <pc:docMk/>
            <pc:sldMk cId="2094671344" sldId="2210"/>
            <ac:picMk id="29" creationId="{F429DC31-F3D8-4D14-A3E6-9102653CED1B}"/>
          </ac:picMkLst>
        </pc:picChg>
        <pc:picChg chg="del">
          <ac:chgData name="Aurelien Domont" userId="6da7715ce44349b3" providerId="LiveId" clId="{2349E0AC-9333-4F13-B2C9-E74906101359}" dt="2021-09-09T05:59:13.571" v="263" actId="478"/>
          <ac:picMkLst>
            <pc:docMk/>
            <pc:sldMk cId="2094671344" sldId="2210"/>
            <ac:picMk id="30" creationId="{4ABB8513-0FE2-40FC-ABDC-9D2D37724AE7}"/>
          </ac:picMkLst>
        </pc:picChg>
        <pc:picChg chg="add mod">
          <ac:chgData name="Aurelien Domont" userId="6da7715ce44349b3" providerId="LiveId" clId="{2349E0AC-9333-4F13-B2C9-E74906101359}" dt="2021-09-13T07:10:51.183" v="1509"/>
          <ac:picMkLst>
            <pc:docMk/>
            <pc:sldMk cId="2094671344" sldId="2210"/>
            <ac:picMk id="30" creationId="{D3B21425-3456-4C47-91B5-9E83AA55D90F}"/>
          </ac:picMkLst>
        </pc:picChg>
        <pc:picChg chg="add del mod">
          <ac:chgData name="Aurelien Domont" userId="6da7715ce44349b3" providerId="LiveId" clId="{2349E0AC-9333-4F13-B2C9-E74906101359}" dt="2021-09-13T07:10:50.995" v="1508" actId="478"/>
          <ac:picMkLst>
            <pc:docMk/>
            <pc:sldMk cId="2094671344" sldId="2210"/>
            <ac:picMk id="32" creationId="{664062A1-3A7B-4F22-A4E5-63CD656CBC09}"/>
          </ac:picMkLst>
        </pc:picChg>
        <pc:picChg chg="add del mod">
          <ac:chgData name="Aurelien Domont" userId="6da7715ce44349b3" providerId="LiveId" clId="{2349E0AC-9333-4F13-B2C9-E74906101359}" dt="2021-09-13T07:10:50.995" v="1508" actId="478"/>
          <ac:picMkLst>
            <pc:docMk/>
            <pc:sldMk cId="2094671344" sldId="2210"/>
            <ac:picMk id="33" creationId="{BBF6AFA0-E82A-472C-8E42-F1EF8CDC49DF}"/>
          </ac:picMkLst>
        </pc:picChg>
        <pc:picChg chg="add del mod">
          <ac:chgData name="Aurelien Domont" userId="6da7715ce44349b3" providerId="LiveId" clId="{2349E0AC-9333-4F13-B2C9-E74906101359}" dt="2021-09-13T07:10:50.995" v="1508" actId="478"/>
          <ac:picMkLst>
            <pc:docMk/>
            <pc:sldMk cId="2094671344" sldId="2210"/>
            <ac:picMk id="34" creationId="{61B2F611-8E00-4E69-B2CD-EC73BFD6AB7D}"/>
          </ac:picMkLst>
        </pc:picChg>
        <pc:picChg chg="add del mod">
          <ac:chgData name="Aurelien Domont" userId="6da7715ce44349b3" providerId="LiveId" clId="{2349E0AC-9333-4F13-B2C9-E74906101359}" dt="2021-09-13T07:10:50.995" v="1508" actId="478"/>
          <ac:picMkLst>
            <pc:docMk/>
            <pc:sldMk cId="2094671344" sldId="2210"/>
            <ac:picMk id="35" creationId="{18AD88B1-3D34-4B3C-9CAC-6FAF2F6E6217}"/>
          </ac:picMkLst>
        </pc:picChg>
        <pc:picChg chg="add mod">
          <ac:chgData name="Aurelien Domont" userId="6da7715ce44349b3" providerId="LiveId" clId="{2349E0AC-9333-4F13-B2C9-E74906101359}" dt="2021-09-13T07:10:51.183" v="1509"/>
          <ac:picMkLst>
            <pc:docMk/>
            <pc:sldMk cId="2094671344" sldId="2210"/>
            <ac:picMk id="37" creationId="{9EE9071D-6B92-4D30-9111-743475D76C36}"/>
          </ac:picMkLst>
        </pc:picChg>
      </pc:sldChg>
      <pc:sldChg chg="addSp delSp modSp add del mod">
        <pc:chgData name="Aurelien Domont" userId="6da7715ce44349b3" providerId="LiveId" clId="{2349E0AC-9333-4F13-B2C9-E74906101359}" dt="2022-01-25T06:25:13.362" v="4671" actId="47"/>
        <pc:sldMkLst>
          <pc:docMk/>
          <pc:sldMk cId="420470242" sldId="2211"/>
        </pc:sldMkLst>
        <pc:spChg chg="del">
          <ac:chgData name="Aurelien Domont" userId="6da7715ce44349b3" providerId="LiveId" clId="{2349E0AC-9333-4F13-B2C9-E74906101359}" dt="2021-09-09T05:59:45.050" v="268" actId="478"/>
          <ac:spMkLst>
            <pc:docMk/>
            <pc:sldMk cId="420470242" sldId="2211"/>
            <ac:spMk id="15" creationId="{8A7BC17A-109F-476E-B942-7AE3D7588D52}"/>
          </ac:spMkLst>
        </pc:spChg>
        <pc:spChg chg="add del mod">
          <ac:chgData name="Aurelien Domont" userId="6da7715ce44349b3" providerId="LiveId" clId="{2349E0AC-9333-4F13-B2C9-E74906101359}" dt="2021-09-13T07:13:40.662" v="1535"/>
          <ac:spMkLst>
            <pc:docMk/>
            <pc:sldMk cId="420470242" sldId="2211"/>
            <ac:spMk id="15" creationId="{F892D110-E1CB-41EF-9E81-7BB4ABBF1BA7}"/>
          </ac:spMkLst>
        </pc:spChg>
        <pc:spChg chg="mod">
          <ac:chgData name="Aurelien Domont" userId="6da7715ce44349b3" providerId="LiveId" clId="{2349E0AC-9333-4F13-B2C9-E74906101359}" dt="2021-09-09T05:59:41.787" v="267" actId="20577"/>
          <ac:spMkLst>
            <pc:docMk/>
            <pc:sldMk cId="420470242" sldId="2211"/>
            <ac:spMk id="16" creationId="{6C2BB713-9637-4B9B-938F-E9768876782A}"/>
          </ac:spMkLst>
        </pc:spChg>
        <pc:spChg chg="add del mod">
          <ac:chgData name="Aurelien Domont" userId="6da7715ce44349b3" providerId="LiveId" clId="{2349E0AC-9333-4F13-B2C9-E74906101359}" dt="2021-09-13T07:13:40.662" v="1535"/>
          <ac:spMkLst>
            <pc:docMk/>
            <pc:sldMk cId="420470242" sldId="2211"/>
            <ac:spMk id="17" creationId="{AF32311D-78B9-492A-B7C8-DBA7D30B0FC3}"/>
          </ac:spMkLst>
        </pc:spChg>
        <pc:spChg chg="del">
          <ac:chgData name="Aurelien Domont" userId="6da7715ce44349b3" providerId="LiveId" clId="{2349E0AC-9333-4F13-B2C9-E74906101359}" dt="2021-09-09T05:59:45.050" v="268" actId="478"/>
          <ac:spMkLst>
            <pc:docMk/>
            <pc:sldMk cId="420470242" sldId="2211"/>
            <ac:spMk id="17" creationId="{E808FA01-0EBC-4427-B542-075DDB18E079}"/>
          </ac:spMkLst>
        </pc:spChg>
        <pc:spChg chg="del">
          <ac:chgData name="Aurelien Domont" userId="6da7715ce44349b3" providerId="LiveId" clId="{2349E0AC-9333-4F13-B2C9-E74906101359}" dt="2021-09-09T05:59:45.050" v="268" actId="478"/>
          <ac:spMkLst>
            <pc:docMk/>
            <pc:sldMk cId="420470242" sldId="2211"/>
            <ac:spMk id="18" creationId="{43EE83B8-ABED-43F5-9216-FDCC5E7B35C2}"/>
          </ac:spMkLst>
        </pc:spChg>
        <pc:spChg chg="add del mod">
          <ac:chgData name="Aurelien Domont" userId="6da7715ce44349b3" providerId="LiveId" clId="{2349E0AC-9333-4F13-B2C9-E74906101359}" dt="2021-09-13T07:13:40.662" v="1535"/>
          <ac:spMkLst>
            <pc:docMk/>
            <pc:sldMk cId="420470242" sldId="2211"/>
            <ac:spMk id="18" creationId="{DD52F311-3B63-437A-9FFB-2CDF3C8216B1}"/>
          </ac:spMkLst>
        </pc:spChg>
        <pc:spChg chg="add del mod">
          <ac:chgData name="Aurelien Domont" userId="6da7715ce44349b3" providerId="LiveId" clId="{2349E0AC-9333-4F13-B2C9-E74906101359}" dt="2021-09-13T07:13:40.662" v="1535"/>
          <ac:spMkLst>
            <pc:docMk/>
            <pc:sldMk cId="420470242" sldId="2211"/>
            <ac:spMk id="19" creationId="{13D6AE79-C270-45BE-A533-8B6F18C4BFB5}"/>
          </ac:spMkLst>
        </pc:spChg>
        <pc:spChg chg="del">
          <ac:chgData name="Aurelien Domont" userId="6da7715ce44349b3" providerId="LiveId" clId="{2349E0AC-9333-4F13-B2C9-E74906101359}" dt="2021-09-09T05:59:45.050" v="268" actId="478"/>
          <ac:spMkLst>
            <pc:docMk/>
            <pc:sldMk cId="420470242" sldId="2211"/>
            <ac:spMk id="19" creationId="{24CA7CA0-42F7-44D4-B1B2-1F234CA2FA0F}"/>
          </ac:spMkLst>
        </pc:spChg>
        <pc:spChg chg="add del mod">
          <ac:chgData name="Aurelien Domont" userId="6da7715ce44349b3" providerId="LiveId" clId="{2349E0AC-9333-4F13-B2C9-E74906101359}" dt="2021-09-13T07:13:43.215" v="1536" actId="478"/>
          <ac:spMkLst>
            <pc:docMk/>
            <pc:sldMk cId="420470242" sldId="2211"/>
            <ac:spMk id="21" creationId="{B819C294-1E3C-4A99-BDCB-03FEA52E236B}"/>
          </ac:spMkLst>
        </pc:spChg>
        <pc:spChg chg="add del mod">
          <ac:chgData name="Aurelien Domont" userId="6da7715ce44349b3" providerId="LiveId" clId="{2349E0AC-9333-4F13-B2C9-E74906101359}" dt="2021-09-13T07:13:43.215" v="1536" actId="478"/>
          <ac:spMkLst>
            <pc:docMk/>
            <pc:sldMk cId="420470242" sldId="2211"/>
            <ac:spMk id="22" creationId="{FB947044-A5BD-4A2C-B5A6-C661002024D3}"/>
          </ac:spMkLst>
        </pc:spChg>
        <pc:spChg chg="add del mod">
          <ac:chgData name="Aurelien Domont" userId="6da7715ce44349b3" providerId="LiveId" clId="{2349E0AC-9333-4F13-B2C9-E74906101359}" dt="2021-09-13T07:13:43.215" v="1536" actId="478"/>
          <ac:spMkLst>
            <pc:docMk/>
            <pc:sldMk cId="420470242" sldId="2211"/>
            <ac:spMk id="23" creationId="{0F2574A5-BA76-4152-BBE9-D3E3B8878F41}"/>
          </ac:spMkLst>
        </pc:spChg>
        <pc:spChg chg="add del mod">
          <ac:chgData name="Aurelien Domont" userId="6da7715ce44349b3" providerId="LiveId" clId="{2349E0AC-9333-4F13-B2C9-E74906101359}" dt="2021-09-13T07:13:43.215" v="1536" actId="478"/>
          <ac:spMkLst>
            <pc:docMk/>
            <pc:sldMk cId="420470242" sldId="2211"/>
            <ac:spMk id="24" creationId="{27F60708-4B75-4C0D-828E-8FD6F5DAE705}"/>
          </ac:spMkLst>
        </pc:spChg>
        <pc:spChg chg="add del mod">
          <ac:chgData name="Aurelien Domont" userId="6da7715ce44349b3" providerId="LiveId" clId="{2349E0AC-9333-4F13-B2C9-E74906101359}" dt="2021-09-13T07:13:43.215" v="1536" actId="478"/>
          <ac:spMkLst>
            <pc:docMk/>
            <pc:sldMk cId="420470242" sldId="2211"/>
            <ac:spMk id="26" creationId="{D67393E2-A220-4995-A31A-B2EB579CFEE5}"/>
          </ac:spMkLst>
        </pc:spChg>
        <pc:spChg chg="del">
          <ac:chgData name="Aurelien Domont" userId="6da7715ce44349b3" providerId="LiveId" clId="{2349E0AC-9333-4F13-B2C9-E74906101359}" dt="2021-09-09T05:59:45.050" v="268" actId="478"/>
          <ac:spMkLst>
            <pc:docMk/>
            <pc:sldMk cId="420470242" sldId="2211"/>
            <ac:spMk id="31" creationId="{9171B997-7BDA-4A3F-AA7A-16C20A960905}"/>
          </ac:spMkLst>
        </pc:spChg>
        <pc:spChg chg="add del mod">
          <ac:chgData name="Aurelien Domont" userId="6da7715ce44349b3" providerId="LiveId" clId="{2349E0AC-9333-4F13-B2C9-E74906101359}" dt="2021-09-13T07:13:40.662" v="1535"/>
          <ac:spMkLst>
            <pc:docMk/>
            <pc:sldMk cId="420470242" sldId="2211"/>
            <ac:spMk id="31" creationId="{BB27C0EB-3A0F-442D-A598-081800471736}"/>
          </ac:spMkLst>
        </pc:spChg>
        <pc:spChg chg="add del mod">
          <ac:chgData name="Aurelien Domont" userId="6da7715ce44349b3" providerId="LiveId" clId="{2349E0AC-9333-4F13-B2C9-E74906101359}" dt="2021-09-13T07:13:40.662" v="1535"/>
          <ac:spMkLst>
            <pc:docMk/>
            <pc:sldMk cId="420470242" sldId="2211"/>
            <ac:spMk id="36" creationId="{1CF06497-302B-4C88-9FA4-A80AF0202553}"/>
          </ac:spMkLst>
        </pc:spChg>
        <pc:spChg chg="add mod">
          <ac:chgData name="Aurelien Domont" userId="6da7715ce44349b3" providerId="LiveId" clId="{2349E0AC-9333-4F13-B2C9-E74906101359}" dt="2021-09-13T07:13:43.590" v="1537"/>
          <ac:spMkLst>
            <pc:docMk/>
            <pc:sldMk cId="420470242" sldId="2211"/>
            <ac:spMk id="38" creationId="{0EB4D640-58C1-42F3-8F9A-D1E7345556C9}"/>
          </ac:spMkLst>
        </pc:spChg>
        <pc:spChg chg="add mod">
          <ac:chgData name="Aurelien Domont" userId="6da7715ce44349b3" providerId="LiveId" clId="{2349E0AC-9333-4F13-B2C9-E74906101359}" dt="2021-09-13T07:13:43.590" v="1537"/>
          <ac:spMkLst>
            <pc:docMk/>
            <pc:sldMk cId="420470242" sldId="2211"/>
            <ac:spMk id="39" creationId="{35C29905-3836-471B-B334-CFC61749B365}"/>
          </ac:spMkLst>
        </pc:spChg>
        <pc:spChg chg="add mod">
          <ac:chgData name="Aurelien Domont" userId="6da7715ce44349b3" providerId="LiveId" clId="{2349E0AC-9333-4F13-B2C9-E74906101359}" dt="2021-09-13T07:13:53.514" v="1540" actId="108"/>
          <ac:spMkLst>
            <pc:docMk/>
            <pc:sldMk cId="420470242" sldId="2211"/>
            <ac:spMk id="40" creationId="{EA67CAED-446A-429F-BE71-EDFD1EF6435D}"/>
          </ac:spMkLst>
        </pc:spChg>
        <pc:spChg chg="add mod">
          <ac:chgData name="Aurelien Domont" userId="6da7715ce44349b3" providerId="LiveId" clId="{2349E0AC-9333-4F13-B2C9-E74906101359}" dt="2021-09-13T07:13:43.590" v="1537"/>
          <ac:spMkLst>
            <pc:docMk/>
            <pc:sldMk cId="420470242" sldId="2211"/>
            <ac:spMk id="41" creationId="{9C465857-9A4C-46D3-A08F-ED5EB8FB6E54}"/>
          </ac:spMkLst>
        </pc:spChg>
        <pc:spChg chg="add mod">
          <ac:chgData name="Aurelien Domont" userId="6da7715ce44349b3" providerId="LiveId" clId="{2349E0AC-9333-4F13-B2C9-E74906101359}" dt="2021-09-13T07:13:47.757" v="1538" actId="108"/>
          <ac:spMkLst>
            <pc:docMk/>
            <pc:sldMk cId="420470242" sldId="2211"/>
            <ac:spMk id="43" creationId="{953A42D6-9E38-4497-A21C-ED7E998CF115}"/>
          </ac:spMkLst>
        </pc:spChg>
        <pc:spChg chg="add mod">
          <ac:chgData name="Aurelien Domont" userId="6da7715ce44349b3" providerId="LiveId" clId="{2349E0AC-9333-4F13-B2C9-E74906101359}" dt="2021-09-13T07:13:43.590" v="1537"/>
          <ac:spMkLst>
            <pc:docMk/>
            <pc:sldMk cId="420470242" sldId="2211"/>
            <ac:spMk id="48" creationId="{B8514B2B-84F6-49A2-84BF-729223F23D6A}"/>
          </ac:spMkLst>
        </pc:spChg>
        <pc:picChg chg="del">
          <ac:chgData name="Aurelien Domont" userId="6da7715ce44349b3" providerId="LiveId" clId="{2349E0AC-9333-4F13-B2C9-E74906101359}" dt="2021-09-09T05:59:45.050" v="268" actId="478"/>
          <ac:picMkLst>
            <pc:docMk/>
            <pc:sldMk cId="420470242" sldId="2211"/>
            <ac:picMk id="20" creationId="{569E2562-9CF9-430C-8AA5-AA7990E13F2C}"/>
          </ac:picMkLst>
        </pc:picChg>
        <pc:picChg chg="add del mod">
          <ac:chgData name="Aurelien Domont" userId="6da7715ce44349b3" providerId="LiveId" clId="{2349E0AC-9333-4F13-B2C9-E74906101359}" dt="2021-09-13T07:13:40.662" v="1535"/>
          <ac:picMkLst>
            <pc:docMk/>
            <pc:sldMk cId="420470242" sldId="2211"/>
            <ac:picMk id="20" creationId="{C4795A71-4C7D-4238-B76E-5B8A7727027D}"/>
          </ac:picMkLst>
        </pc:picChg>
        <pc:picChg chg="add del mod">
          <ac:chgData name="Aurelien Domont" userId="6da7715ce44349b3" providerId="LiveId" clId="{2349E0AC-9333-4F13-B2C9-E74906101359}" dt="2021-09-13T07:13:43.215" v="1536" actId="478"/>
          <ac:picMkLst>
            <pc:docMk/>
            <pc:sldMk cId="420470242" sldId="2211"/>
            <ac:picMk id="25" creationId="{1BF4F82B-CFB2-4A94-A652-DF0B85D439A0}"/>
          </ac:picMkLst>
        </pc:picChg>
        <pc:picChg chg="add del mod">
          <ac:chgData name="Aurelien Domont" userId="6da7715ce44349b3" providerId="LiveId" clId="{2349E0AC-9333-4F13-B2C9-E74906101359}" dt="2021-09-13T07:13:43.215" v="1536" actId="478"/>
          <ac:picMkLst>
            <pc:docMk/>
            <pc:sldMk cId="420470242" sldId="2211"/>
            <ac:picMk id="27" creationId="{42408E70-1CFC-4EDE-886D-63A5B58F4E14}"/>
          </ac:picMkLst>
        </pc:picChg>
        <pc:picChg chg="add del mod">
          <ac:chgData name="Aurelien Domont" userId="6da7715ce44349b3" providerId="LiveId" clId="{2349E0AC-9333-4F13-B2C9-E74906101359}" dt="2021-09-13T07:13:43.215" v="1536" actId="478"/>
          <ac:picMkLst>
            <pc:docMk/>
            <pc:sldMk cId="420470242" sldId="2211"/>
            <ac:picMk id="28" creationId="{123D5F6B-80B6-4F3C-A071-07D3AF4F0727}"/>
          </ac:picMkLst>
        </pc:picChg>
        <pc:picChg chg="add del mod">
          <ac:chgData name="Aurelien Domont" userId="6da7715ce44349b3" providerId="LiveId" clId="{2349E0AC-9333-4F13-B2C9-E74906101359}" dt="2021-09-13T07:13:43.215" v="1536" actId="478"/>
          <ac:picMkLst>
            <pc:docMk/>
            <pc:sldMk cId="420470242" sldId="2211"/>
            <ac:picMk id="29" creationId="{AC994464-0261-482E-AC7C-B3E80CEB338F}"/>
          </ac:picMkLst>
        </pc:picChg>
        <pc:picChg chg="add del mod">
          <ac:chgData name="Aurelien Domont" userId="6da7715ce44349b3" providerId="LiveId" clId="{2349E0AC-9333-4F13-B2C9-E74906101359}" dt="2021-09-13T07:13:43.215" v="1536" actId="478"/>
          <ac:picMkLst>
            <pc:docMk/>
            <pc:sldMk cId="420470242" sldId="2211"/>
            <ac:picMk id="30" creationId="{5DFEA13F-FBC5-43BE-A021-9227E780D7B4}"/>
          </ac:picMkLst>
        </pc:picChg>
        <pc:picChg chg="del">
          <ac:chgData name="Aurelien Domont" userId="6da7715ce44349b3" providerId="LiveId" clId="{2349E0AC-9333-4F13-B2C9-E74906101359}" dt="2021-09-09T05:59:45.050" v="268" actId="478"/>
          <ac:picMkLst>
            <pc:docMk/>
            <pc:sldMk cId="420470242" sldId="2211"/>
            <ac:picMk id="32" creationId="{664062A1-3A7B-4F22-A4E5-63CD656CBC09}"/>
          </ac:picMkLst>
        </pc:picChg>
        <pc:picChg chg="add del mod">
          <ac:chgData name="Aurelien Domont" userId="6da7715ce44349b3" providerId="LiveId" clId="{2349E0AC-9333-4F13-B2C9-E74906101359}" dt="2021-09-13T07:13:40.662" v="1535"/>
          <ac:picMkLst>
            <pc:docMk/>
            <pc:sldMk cId="420470242" sldId="2211"/>
            <ac:picMk id="32" creationId="{D5232D7D-0FA7-46C9-8671-B01CCD78FA8A}"/>
          </ac:picMkLst>
        </pc:picChg>
        <pc:picChg chg="del">
          <ac:chgData name="Aurelien Domont" userId="6da7715ce44349b3" providerId="LiveId" clId="{2349E0AC-9333-4F13-B2C9-E74906101359}" dt="2021-09-09T05:59:45.050" v="268" actId="478"/>
          <ac:picMkLst>
            <pc:docMk/>
            <pc:sldMk cId="420470242" sldId="2211"/>
            <ac:picMk id="33" creationId="{BBF6AFA0-E82A-472C-8E42-F1EF8CDC49DF}"/>
          </ac:picMkLst>
        </pc:picChg>
        <pc:picChg chg="add del mod">
          <ac:chgData name="Aurelien Domont" userId="6da7715ce44349b3" providerId="LiveId" clId="{2349E0AC-9333-4F13-B2C9-E74906101359}" dt="2021-09-13T07:13:40.662" v="1535"/>
          <ac:picMkLst>
            <pc:docMk/>
            <pc:sldMk cId="420470242" sldId="2211"/>
            <ac:picMk id="33" creationId="{BD7038F7-6621-4756-B6BE-DAD4CA15E756}"/>
          </ac:picMkLst>
        </pc:picChg>
        <pc:picChg chg="del">
          <ac:chgData name="Aurelien Domont" userId="6da7715ce44349b3" providerId="LiveId" clId="{2349E0AC-9333-4F13-B2C9-E74906101359}" dt="2021-09-09T05:59:45.050" v="268" actId="478"/>
          <ac:picMkLst>
            <pc:docMk/>
            <pc:sldMk cId="420470242" sldId="2211"/>
            <ac:picMk id="34" creationId="{61B2F611-8E00-4E69-B2CD-EC73BFD6AB7D}"/>
          </ac:picMkLst>
        </pc:picChg>
        <pc:picChg chg="add del mod">
          <ac:chgData name="Aurelien Domont" userId="6da7715ce44349b3" providerId="LiveId" clId="{2349E0AC-9333-4F13-B2C9-E74906101359}" dt="2021-09-13T07:13:40.662" v="1535"/>
          <ac:picMkLst>
            <pc:docMk/>
            <pc:sldMk cId="420470242" sldId="2211"/>
            <ac:picMk id="34" creationId="{D028810E-77F2-4E1B-840F-BEF9D6F71520}"/>
          </ac:picMkLst>
        </pc:picChg>
        <pc:picChg chg="del">
          <ac:chgData name="Aurelien Domont" userId="6da7715ce44349b3" providerId="LiveId" clId="{2349E0AC-9333-4F13-B2C9-E74906101359}" dt="2021-09-09T05:59:45.050" v="268" actId="478"/>
          <ac:picMkLst>
            <pc:docMk/>
            <pc:sldMk cId="420470242" sldId="2211"/>
            <ac:picMk id="35" creationId="{18AD88B1-3D34-4B3C-9CAC-6FAF2F6E6217}"/>
          </ac:picMkLst>
        </pc:picChg>
        <pc:picChg chg="add del mod">
          <ac:chgData name="Aurelien Domont" userId="6da7715ce44349b3" providerId="LiveId" clId="{2349E0AC-9333-4F13-B2C9-E74906101359}" dt="2021-09-13T07:13:40.662" v="1535"/>
          <ac:picMkLst>
            <pc:docMk/>
            <pc:sldMk cId="420470242" sldId="2211"/>
            <ac:picMk id="35" creationId="{AB4CA457-C44C-4731-BD85-3324142582E2}"/>
          </ac:picMkLst>
        </pc:picChg>
        <pc:picChg chg="add del mod">
          <ac:chgData name="Aurelien Domont" userId="6da7715ce44349b3" providerId="LiveId" clId="{2349E0AC-9333-4F13-B2C9-E74906101359}" dt="2021-09-13T07:13:40.662" v="1535"/>
          <ac:picMkLst>
            <pc:docMk/>
            <pc:sldMk cId="420470242" sldId="2211"/>
            <ac:picMk id="37" creationId="{B5333FBE-663E-459A-8D15-EEE29C6D87CA}"/>
          </ac:picMkLst>
        </pc:picChg>
        <pc:picChg chg="add mod">
          <ac:chgData name="Aurelien Domont" userId="6da7715ce44349b3" providerId="LiveId" clId="{2349E0AC-9333-4F13-B2C9-E74906101359}" dt="2021-09-13T07:13:43.590" v="1537"/>
          <ac:picMkLst>
            <pc:docMk/>
            <pc:sldMk cId="420470242" sldId="2211"/>
            <ac:picMk id="42" creationId="{CFDA1E1D-E689-46E8-A47C-D641D2A8B878}"/>
          </ac:picMkLst>
        </pc:picChg>
        <pc:picChg chg="add mod">
          <ac:chgData name="Aurelien Domont" userId="6da7715ce44349b3" providerId="LiveId" clId="{2349E0AC-9333-4F13-B2C9-E74906101359}" dt="2021-09-13T07:13:43.590" v="1537"/>
          <ac:picMkLst>
            <pc:docMk/>
            <pc:sldMk cId="420470242" sldId="2211"/>
            <ac:picMk id="44" creationId="{C96D08E1-52FB-4EE3-8BD2-4591CF65C37F}"/>
          </ac:picMkLst>
        </pc:picChg>
        <pc:picChg chg="add mod">
          <ac:chgData name="Aurelien Domont" userId="6da7715ce44349b3" providerId="LiveId" clId="{2349E0AC-9333-4F13-B2C9-E74906101359}" dt="2021-09-13T07:13:43.590" v="1537"/>
          <ac:picMkLst>
            <pc:docMk/>
            <pc:sldMk cId="420470242" sldId="2211"/>
            <ac:picMk id="45" creationId="{F2B09052-0603-42C1-9F3C-9D8E6874D825}"/>
          </ac:picMkLst>
        </pc:picChg>
        <pc:picChg chg="add mod">
          <ac:chgData name="Aurelien Domont" userId="6da7715ce44349b3" providerId="LiveId" clId="{2349E0AC-9333-4F13-B2C9-E74906101359}" dt="2021-09-13T07:13:55.671" v="1541" actId="108"/>
          <ac:picMkLst>
            <pc:docMk/>
            <pc:sldMk cId="420470242" sldId="2211"/>
            <ac:picMk id="46" creationId="{C0D7A384-2248-43D6-83B5-DDA8B9B1EB18}"/>
          </ac:picMkLst>
        </pc:picChg>
        <pc:picChg chg="add mod">
          <ac:chgData name="Aurelien Domont" userId="6da7715ce44349b3" providerId="LiveId" clId="{2349E0AC-9333-4F13-B2C9-E74906101359}" dt="2021-09-13T07:13:50.035" v="1539" actId="108"/>
          <ac:picMkLst>
            <pc:docMk/>
            <pc:sldMk cId="420470242" sldId="2211"/>
            <ac:picMk id="47" creationId="{499F935E-0FD7-4BEF-8EDD-7AD5BEDC857D}"/>
          </ac:picMkLst>
        </pc:picChg>
        <pc:picChg chg="add mod">
          <ac:chgData name="Aurelien Domont" userId="6da7715ce44349b3" providerId="LiveId" clId="{2349E0AC-9333-4F13-B2C9-E74906101359}" dt="2021-09-13T07:13:43.590" v="1537"/>
          <ac:picMkLst>
            <pc:docMk/>
            <pc:sldMk cId="420470242" sldId="2211"/>
            <ac:picMk id="49" creationId="{9E29894F-7BE2-4CC1-8A75-318324B0413C}"/>
          </ac:picMkLst>
        </pc:picChg>
      </pc:sldChg>
      <pc:sldChg chg="addSp delSp modSp add del mod">
        <pc:chgData name="Aurelien Domont" userId="6da7715ce44349b3" providerId="LiveId" clId="{2349E0AC-9333-4F13-B2C9-E74906101359}" dt="2022-01-25T06:17:34.015" v="4600" actId="47"/>
        <pc:sldMkLst>
          <pc:docMk/>
          <pc:sldMk cId="1819835358" sldId="2212"/>
        </pc:sldMkLst>
        <pc:spChg chg="mod topLvl">
          <ac:chgData name="Aurelien Domont" userId="6da7715ce44349b3" providerId="LiveId" clId="{2349E0AC-9333-4F13-B2C9-E74906101359}" dt="2022-01-18T00:32:13.700" v="2041" actId="164"/>
          <ac:spMkLst>
            <pc:docMk/>
            <pc:sldMk cId="1819835358" sldId="2212"/>
            <ac:spMk id="6" creationId="{238F0036-6BC1-440E-B8F1-6711ACC674F0}"/>
          </ac:spMkLst>
        </pc:spChg>
        <pc:spChg chg="mod topLvl">
          <ac:chgData name="Aurelien Domont" userId="6da7715ce44349b3" providerId="LiveId" clId="{2349E0AC-9333-4F13-B2C9-E74906101359}" dt="2022-01-18T00:32:13.700" v="2041" actId="164"/>
          <ac:spMkLst>
            <pc:docMk/>
            <pc:sldMk cId="1819835358" sldId="2212"/>
            <ac:spMk id="8" creationId="{5AD20283-C610-4E4E-B7FD-0A74829B17D2}"/>
          </ac:spMkLst>
        </pc:spChg>
        <pc:spChg chg="mod topLvl">
          <ac:chgData name="Aurelien Domont" userId="6da7715ce44349b3" providerId="LiveId" clId="{2349E0AC-9333-4F13-B2C9-E74906101359}" dt="2022-01-18T00:32:13.700" v="2041" actId="164"/>
          <ac:spMkLst>
            <pc:docMk/>
            <pc:sldMk cId="1819835358" sldId="2212"/>
            <ac:spMk id="9" creationId="{9916BF81-D831-4945-8A7F-F1BBF3BE00F7}"/>
          </ac:spMkLst>
        </pc:spChg>
        <pc:spChg chg="mod topLvl">
          <ac:chgData name="Aurelien Domont" userId="6da7715ce44349b3" providerId="LiveId" clId="{2349E0AC-9333-4F13-B2C9-E74906101359}" dt="2022-01-18T00:32:13.700" v="2041" actId="164"/>
          <ac:spMkLst>
            <pc:docMk/>
            <pc:sldMk cId="1819835358" sldId="2212"/>
            <ac:spMk id="10" creationId="{B1C88FC8-A399-4036-A50C-88B22BCA06AE}"/>
          </ac:spMkLst>
        </pc:spChg>
        <pc:spChg chg="mod topLvl">
          <ac:chgData name="Aurelien Domont" userId="6da7715ce44349b3" providerId="LiveId" clId="{2349E0AC-9333-4F13-B2C9-E74906101359}" dt="2022-01-18T00:32:13.700" v="2041" actId="164"/>
          <ac:spMkLst>
            <pc:docMk/>
            <pc:sldMk cId="1819835358" sldId="2212"/>
            <ac:spMk id="12" creationId="{669CF01D-E2E3-4BEE-B623-8324947E2082}"/>
          </ac:spMkLst>
        </pc:spChg>
        <pc:spChg chg="mod">
          <ac:chgData name="Aurelien Domont" userId="6da7715ce44349b3" providerId="LiveId" clId="{2349E0AC-9333-4F13-B2C9-E74906101359}" dt="2022-01-18T05:14:47.954" v="3916" actId="20577"/>
          <ac:spMkLst>
            <pc:docMk/>
            <pc:sldMk cId="1819835358" sldId="2212"/>
            <ac:spMk id="16" creationId="{6C2BB713-9637-4B9B-938F-E9768876782A}"/>
          </ac:spMkLst>
        </pc:spChg>
        <pc:spChg chg="mod">
          <ac:chgData name="Aurelien Domont" userId="6da7715ce44349b3" providerId="LiveId" clId="{2349E0AC-9333-4F13-B2C9-E74906101359}" dt="2022-01-18T02:01:03.632" v="2643" actId="404"/>
          <ac:spMkLst>
            <pc:docMk/>
            <pc:sldMk cId="1819835358" sldId="2212"/>
            <ac:spMk id="19" creationId="{40F450C2-7100-4D0F-91E4-597A71B103E4}"/>
          </ac:spMkLst>
        </pc:spChg>
        <pc:spChg chg="mod">
          <ac:chgData name="Aurelien Domont" userId="6da7715ce44349b3" providerId="LiveId" clId="{2349E0AC-9333-4F13-B2C9-E74906101359}" dt="2022-01-18T04:24:34.546" v="3660" actId="20577"/>
          <ac:spMkLst>
            <pc:docMk/>
            <pc:sldMk cId="1819835358" sldId="2212"/>
            <ac:spMk id="20" creationId="{0C20E171-2CDF-4CC5-9794-E43D383FF666}"/>
          </ac:spMkLst>
        </pc:spChg>
        <pc:spChg chg="mod topLvl">
          <ac:chgData name="Aurelien Domont" userId="6da7715ce44349b3" providerId="LiveId" clId="{2349E0AC-9333-4F13-B2C9-E74906101359}" dt="2022-01-18T00:32:13.700" v="2041" actId="164"/>
          <ac:spMkLst>
            <pc:docMk/>
            <pc:sldMk cId="1819835358" sldId="2212"/>
            <ac:spMk id="21" creationId="{071A8FDB-0B99-4D72-8433-F20F1989A3E1}"/>
          </ac:spMkLst>
        </pc:spChg>
        <pc:spChg chg="add mod">
          <ac:chgData name="Aurelien Domont" userId="6da7715ce44349b3" providerId="LiveId" clId="{2349E0AC-9333-4F13-B2C9-E74906101359}" dt="2022-01-18T00:32:13.700" v="2041" actId="164"/>
          <ac:spMkLst>
            <pc:docMk/>
            <pc:sldMk cId="1819835358" sldId="2212"/>
            <ac:spMk id="22" creationId="{FFF5E51A-812F-4FC6-A8DC-0A0B2A6DC5FD}"/>
          </ac:spMkLst>
        </pc:spChg>
        <pc:spChg chg="add mod">
          <ac:chgData name="Aurelien Domont" userId="6da7715ce44349b3" providerId="LiveId" clId="{2349E0AC-9333-4F13-B2C9-E74906101359}" dt="2022-01-19T23:57:50.732" v="4582" actId="20577"/>
          <ac:spMkLst>
            <pc:docMk/>
            <pc:sldMk cId="1819835358" sldId="2212"/>
            <ac:spMk id="25" creationId="{D348A143-274E-4A41-AB3A-A29748744FD7}"/>
          </ac:spMkLst>
        </pc:spChg>
        <pc:spChg chg="add mod">
          <ac:chgData name="Aurelien Domont" userId="6da7715ce44349b3" providerId="LiveId" clId="{2349E0AC-9333-4F13-B2C9-E74906101359}" dt="2022-01-18T04:26:05.609" v="3679" actId="20577"/>
          <ac:spMkLst>
            <pc:docMk/>
            <pc:sldMk cId="1819835358" sldId="2212"/>
            <ac:spMk id="26" creationId="{DADCBFB9-0776-4C6F-8E6D-EE4B21AAEB03}"/>
          </ac:spMkLst>
        </pc:spChg>
        <pc:spChg chg="add del mod">
          <ac:chgData name="Aurelien Domont" userId="6da7715ce44349b3" providerId="LiveId" clId="{2349E0AC-9333-4F13-B2C9-E74906101359}" dt="2022-01-18T00:35:06.608" v="2185" actId="478"/>
          <ac:spMkLst>
            <pc:docMk/>
            <pc:sldMk cId="1819835358" sldId="2212"/>
            <ac:spMk id="28" creationId="{AF1D64A9-58DA-43C1-9BCC-8D7646D10CAA}"/>
          </ac:spMkLst>
        </pc:spChg>
        <pc:spChg chg="add del mod">
          <ac:chgData name="Aurelien Domont" userId="6da7715ce44349b3" providerId="LiveId" clId="{2349E0AC-9333-4F13-B2C9-E74906101359}" dt="2022-01-18T00:35:06.608" v="2185" actId="478"/>
          <ac:spMkLst>
            <pc:docMk/>
            <pc:sldMk cId="1819835358" sldId="2212"/>
            <ac:spMk id="29" creationId="{1BE01C86-343E-44A6-B905-10DD72D1AD03}"/>
          </ac:spMkLst>
        </pc:spChg>
        <pc:spChg chg="add del mod">
          <ac:chgData name="Aurelien Domont" userId="6da7715ce44349b3" providerId="LiveId" clId="{2349E0AC-9333-4F13-B2C9-E74906101359}" dt="2022-01-18T00:35:06.608" v="2185" actId="478"/>
          <ac:spMkLst>
            <pc:docMk/>
            <pc:sldMk cId="1819835358" sldId="2212"/>
            <ac:spMk id="31" creationId="{0D52A507-5AA2-4D67-90D1-B5379B3907C1}"/>
          </ac:spMkLst>
        </pc:spChg>
        <pc:spChg chg="add del mod">
          <ac:chgData name="Aurelien Domont" userId="6da7715ce44349b3" providerId="LiveId" clId="{2349E0AC-9333-4F13-B2C9-E74906101359}" dt="2022-01-18T00:35:06.608" v="2185" actId="478"/>
          <ac:spMkLst>
            <pc:docMk/>
            <pc:sldMk cId="1819835358" sldId="2212"/>
            <ac:spMk id="33" creationId="{4B4D132D-4390-403A-A1BD-BFB6953A8A1E}"/>
          </ac:spMkLst>
        </pc:spChg>
        <pc:spChg chg="add mod">
          <ac:chgData name="Aurelien Domont" userId="6da7715ce44349b3" providerId="LiveId" clId="{2349E0AC-9333-4F13-B2C9-E74906101359}" dt="2022-01-18T01:56:17.525" v="2550"/>
          <ac:spMkLst>
            <pc:docMk/>
            <pc:sldMk cId="1819835358" sldId="2212"/>
            <ac:spMk id="35" creationId="{CCFDE267-06EB-4DF6-9EF6-9ED5828B7732}"/>
          </ac:spMkLst>
        </pc:spChg>
        <pc:spChg chg="add mod">
          <ac:chgData name="Aurelien Domont" userId="6da7715ce44349b3" providerId="LiveId" clId="{2349E0AC-9333-4F13-B2C9-E74906101359}" dt="2022-01-18T03:47:19.968" v="3320" actId="20577"/>
          <ac:spMkLst>
            <pc:docMk/>
            <pc:sldMk cId="1819835358" sldId="2212"/>
            <ac:spMk id="37" creationId="{5FF771AA-5C21-4695-BAC7-125631A7368D}"/>
          </ac:spMkLst>
        </pc:spChg>
        <pc:spChg chg="add mod">
          <ac:chgData name="Aurelien Domont" userId="6da7715ce44349b3" providerId="LiveId" clId="{2349E0AC-9333-4F13-B2C9-E74906101359}" dt="2022-01-18T04:07:10.512" v="3499" actId="20577"/>
          <ac:spMkLst>
            <pc:docMk/>
            <pc:sldMk cId="1819835358" sldId="2212"/>
            <ac:spMk id="39" creationId="{101F4CCF-42E1-4863-8D16-7464782147EB}"/>
          </ac:spMkLst>
        </pc:spChg>
        <pc:spChg chg="add mod">
          <ac:chgData name="Aurelien Domont" userId="6da7715ce44349b3" providerId="LiveId" clId="{2349E0AC-9333-4F13-B2C9-E74906101359}" dt="2022-01-18T00:46:04.129" v="2392" actId="20577"/>
          <ac:spMkLst>
            <pc:docMk/>
            <pc:sldMk cId="1819835358" sldId="2212"/>
            <ac:spMk id="41" creationId="{EB848122-EF4B-4636-8180-DF79420A5C73}"/>
          </ac:spMkLst>
        </pc:spChg>
        <pc:spChg chg="add del mod">
          <ac:chgData name="Aurelien Domont" userId="6da7715ce44349b3" providerId="LiveId" clId="{2349E0AC-9333-4F13-B2C9-E74906101359}" dt="2022-01-18T01:56:37.371" v="2562" actId="20577"/>
          <ac:spMkLst>
            <pc:docMk/>
            <pc:sldMk cId="1819835358" sldId="2212"/>
            <ac:spMk id="43" creationId="{494E9511-AF6A-43ED-9AAC-68C535C7F435}"/>
          </ac:spMkLst>
        </pc:spChg>
        <pc:spChg chg="add del mod">
          <ac:chgData name="Aurelien Domont" userId="6da7715ce44349b3" providerId="LiveId" clId="{2349E0AC-9333-4F13-B2C9-E74906101359}" dt="2022-01-18T00:48:23.956" v="2394" actId="478"/>
          <ac:spMkLst>
            <pc:docMk/>
            <pc:sldMk cId="1819835358" sldId="2212"/>
            <ac:spMk id="45" creationId="{0EFD645D-C31D-4167-8D84-F757A28C5C43}"/>
          </ac:spMkLst>
        </pc:spChg>
        <pc:spChg chg="mod">
          <ac:chgData name="Aurelien Domont" userId="6da7715ce44349b3" providerId="LiveId" clId="{2349E0AC-9333-4F13-B2C9-E74906101359}" dt="2022-01-18T00:39:37.704" v="2242"/>
          <ac:spMkLst>
            <pc:docMk/>
            <pc:sldMk cId="1819835358" sldId="2212"/>
            <ac:spMk id="47" creationId="{AA563F2F-541F-40C8-897B-F4852BCFF06D}"/>
          </ac:spMkLst>
        </pc:spChg>
        <pc:spChg chg="mod">
          <ac:chgData name="Aurelien Domont" userId="6da7715ce44349b3" providerId="LiveId" clId="{2349E0AC-9333-4F13-B2C9-E74906101359}" dt="2022-01-18T00:39:37.704" v="2242"/>
          <ac:spMkLst>
            <pc:docMk/>
            <pc:sldMk cId="1819835358" sldId="2212"/>
            <ac:spMk id="48" creationId="{2870993E-8421-4050-9BC2-AB88468B4088}"/>
          </ac:spMkLst>
        </pc:spChg>
        <pc:spChg chg="mod">
          <ac:chgData name="Aurelien Domont" userId="6da7715ce44349b3" providerId="LiveId" clId="{2349E0AC-9333-4F13-B2C9-E74906101359}" dt="2022-01-18T00:39:37.704" v="2242"/>
          <ac:spMkLst>
            <pc:docMk/>
            <pc:sldMk cId="1819835358" sldId="2212"/>
            <ac:spMk id="49" creationId="{4ACBD267-AC22-478A-803A-C80F0860D854}"/>
          </ac:spMkLst>
        </pc:spChg>
        <pc:spChg chg="mod">
          <ac:chgData name="Aurelien Domont" userId="6da7715ce44349b3" providerId="LiveId" clId="{2349E0AC-9333-4F13-B2C9-E74906101359}" dt="2022-01-18T00:39:37.704" v="2242"/>
          <ac:spMkLst>
            <pc:docMk/>
            <pc:sldMk cId="1819835358" sldId="2212"/>
            <ac:spMk id="50" creationId="{19500E44-AF9D-4B56-9BED-9CCC9B22E63D}"/>
          </ac:spMkLst>
        </pc:spChg>
        <pc:spChg chg="mod">
          <ac:chgData name="Aurelien Domont" userId="6da7715ce44349b3" providerId="LiveId" clId="{2349E0AC-9333-4F13-B2C9-E74906101359}" dt="2022-01-18T00:39:37.704" v="2242"/>
          <ac:spMkLst>
            <pc:docMk/>
            <pc:sldMk cId="1819835358" sldId="2212"/>
            <ac:spMk id="51" creationId="{C02D4035-F15F-4699-B6D2-FE03DD3A47A9}"/>
          </ac:spMkLst>
        </pc:spChg>
        <pc:spChg chg="mod">
          <ac:chgData name="Aurelien Domont" userId="6da7715ce44349b3" providerId="LiveId" clId="{2349E0AC-9333-4F13-B2C9-E74906101359}" dt="2022-01-18T00:39:37.704" v="2242"/>
          <ac:spMkLst>
            <pc:docMk/>
            <pc:sldMk cId="1819835358" sldId="2212"/>
            <ac:spMk id="52" creationId="{AD8F2D92-8E94-433A-B853-DE92071EB616}"/>
          </ac:spMkLst>
        </pc:spChg>
        <pc:spChg chg="mod">
          <ac:chgData name="Aurelien Domont" userId="6da7715ce44349b3" providerId="LiveId" clId="{2349E0AC-9333-4F13-B2C9-E74906101359}" dt="2022-01-18T00:39:37.704" v="2242"/>
          <ac:spMkLst>
            <pc:docMk/>
            <pc:sldMk cId="1819835358" sldId="2212"/>
            <ac:spMk id="53" creationId="{348A08B6-CC46-4EBA-846B-056F2840DE43}"/>
          </ac:spMkLst>
        </pc:spChg>
        <pc:spChg chg="mod">
          <ac:chgData name="Aurelien Domont" userId="6da7715ce44349b3" providerId="LiveId" clId="{2349E0AC-9333-4F13-B2C9-E74906101359}" dt="2022-01-18T00:39:37.704" v="2242"/>
          <ac:spMkLst>
            <pc:docMk/>
            <pc:sldMk cId="1819835358" sldId="2212"/>
            <ac:spMk id="54" creationId="{F814F818-0A64-4B34-BA48-638B271BFBB8}"/>
          </ac:spMkLst>
        </pc:spChg>
        <pc:spChg chg="add del mod">
          <ac:chgData name="Aurelien Domont" userId="6da7715ce44349b3" providerId="LiveId" clId="{2349E0AC-9333-4F13-B2C9-E74906101359}" dt="2022-01-18T00:41:23.043" v="2256"/>
          <ac:spMkLst>
            <pc:docMk/>
            <pc:sldMk cId="1819835358" sldId="2212"/>
            <ac:spMk id="55" creationId="{86278835-D0E7-4E3D-9D77-AEF0A4A4FE81}"/>
          </ac:spMkLst>
        </pc:spChg>
        <pc:spChg chg="add del mod">
          <ac:chgData name="Aurelien Domont" userId="6da7715ce44349b3" providerId="LiveId" clId="{2349E0AC-9333-4F13-B2C9-E74906101359}" dt="2022-01-18T00:41:23.043" v="2256"/>
          <ac:spMkLst>
            <pc:docMk/>
            <pc:sldMk cId="1819835358" sldId="2212"/>
            <ac:spMk id="56" creationId="{AE8613B7-AE90-4F61-A96E-186D25A8E003}"/>
          </ac:spMkLst>
        </pc:spChg>
        <pc:spChg chg="add del mod">
          <ac:chgData name="Aurelien Domont" userId="6da7715ce44349b3" providerId="LiveId" clId="{2349E0AC-9333-4F13-B2C9-E74906101359}" dt="2022-01-18T00:46:27.682" v="2393" actId="478"/>
          <ac:spMkLst>
            <pc:docMk/>
            <pc:sldMk cId="1819835358" sldId="2212"/>
            <ac:spMk id="57" creationId="{7776E522-5A98-41A5-8F71-69B66B4FCD62}"/>
          </ac:spMkLst>
        </pc:spChg>
        <pc:spChg chg="add del mod">
          <ac:chgData name="Aurelien Domont" userId="6da7715ce44349b3" providerId="LiveId" clId="{2349E0AC-9333-4F13-B2C9-E74906101359}" dt="2022-01-18T00:46:27.682" v="2393" actId="478"/>
          <ac:spMkLst>
            <pc:docMk/>
            <pc:sldMk cId="1819835358" sldId="2212"/>
            <ac:spMk id="58" creationId="{A78A7F71-EC30-467C-8350-953B80BBBABB}"/>
          </ac:spMkLst>
        </pc:spChg>
        <pc:grpChg chg="add del mod">
          <ac:chgData name="Aurelien Domont" userId="6da7715ce44349b3" providerId="LiveId" clId="{2349E0AC-9333-4F13-B2C9-E74906101359}" dt="2022-01-18T00:30:48.197" v="1967" actId="165"/>
          <ac:grpSpMkLst>
            <pc:docMk/>
            <pc:sldMk cId="1819835358" sldId="2212"/>
            <ac:grpSpMk id="2" creationId="{7F05B6B5-1353-4F59-9033-B3844CE658DC}"/>
          </ac:grpSpMkLst>
        </pc:grpChg>
        <pc:grpChg chg="add mod">
          <ac:chgData name="Aurelien Domont" userId="6da7715ce44349b3" providerId="LiveId" clId="{2349E0AC-9333-4F13-B2C9-E74906101359}" dt="2022-01-18T00:34:18.980" v="2127" actId="1035"/>
          <ac:grpSpMkLst>
            <pc:docMk/>
            <pc:sldMk cId="1819835358" sldId="2212"/>
            <ac:grpSpMk id="23" creationId="{E78D7F8B-FAC2-4C48-85B3-EC4489488AE5}"/>
          </ac:grpSpMkLst>
        </pc:grpChg>
        <pc:grpChg chg="add del mod">
          <ac:chgData name="Aurelien Domont" userId="6da7715ce44349b3" providerId="LiveId" clId="{2349E0AC-9333-4F13-B2C9-E74906101359}" dt="2022-01-18T00:40:07.710" v="2254" actId="478"/>
          <ac:grpSpMkLst>
            <pc:docMk/>
            <pc:sldMk cId="1819835358" sldId="2212"/>
            <ac:grpSpMk id="46" creationId="{3566A640-7E90-45E1-8230-55D6800E15A2}"/>
          </ac:grpSpMkLst>
        </pc:grpChg>
        <pc:picChg chg="mod topLvl">
          <ac:chgData name="Aurelien Domont" userId="6da7715ce44349b3" providerId="LiveId" clId="{2349E0AC-9333-4F13-B2C9-E74906101359}" dt="2022-01-18T00:32:13.700" v="2041" actId="164"/>
          <ac:picMkLst>
            <pc:docMk/>
            <pc:sldMk cId="1819835358" sldId="2212"/>
            <ac:picMk id="3" creationId="{597D2EEF-5A3E-4D2E-B870-9D84D816AD29}"/>
          </ac:picMkLst>
        </pc:picChg>
        <pc:picChg chg="add mod">
          <ac:chgData name="Aurelien Domont" userId="6da7715ce44349b3" providerId="LiveId" clId="{2349E0AC-9333-4F13-B2C9-E74906101359}" dt="2022-01-25T00:12:14.492" v="4598" actId="1076"/>
          <ac:picMkLst>
            <pc:docMk/>
            <pc:sldMk cId="1819835358" sldId="2212"/>
            <ac:picMk id="4" creationId="{5415B6BA-C0C0-4C5A-9F62-963D6F01C177}"/>
          </ac:picMkLst>
        </pc:picChg>
        <pc:picChg chg="add mod">
          <ac:chgData name="Aurelien Domont" userId="6da7715ce44349b3" providerId="LiveId" clId="{2349E0AC-9333-4F13-B2C9-E74906101359}" dt="2022-01-18T00:32:13.700" v="2041" actId="164"/>
          <ac:picMkLst>
            <pc:docMk/>
            <pc:sldMk cId="1819835358" sldId="2212"/>
            <ac:picMk id="7" creationId="{0E56FFC8-50D3-42DA-A7FE-EDD79D628A75}"/>
          </ac:picMkLst>
        </pc:picChg>
        <pc:picChg chg="mod topLvl">
          <ac:chgData name="Aurelien Domont" userId="6da7715ce44349b3" providerId="LiveId" clId="{2349E0AC-9333-4F13-B2C9-E74906101359}" dt="2022-01-18T00:32:13.700" v="2041" actId="164"/>
          <ac:picMkLst>
            <pc:docMk/>
            <pc:sldMk cId="1819835358" sldId="2212"/>
            <ac:picMk id="11" creationId="{EC760C83-E385-463D-9CCD-28497A47952E}"/>
          </ac:picMkLst>
        </pc:picChg>
        <pc:picChg chg="mod topLvl">
          <ac:chgData name="Aurelien Domont" userId="6da7715ce44349b3" providerId="LiveId" clId="{2349E0AC-9333-4F13-B2C9-E74906101359}" dt="2022-01-18T00:32:13.700" v="2041" actId="164"/>
          <ac:picMkLst>
            <pc:docMk/>
            <pc:sldMk cId="1819835358" sldId="2212"/>
            <ac:picMk id="14" creationId="{95D2287B-DEFC-4271-97FD-F9656371E0A0}"/>
          </ac:picMkLst>
        </pc:picChg>
        <pc:picChg chg="mod topLvl">
          <ac:chgData name="Aurelien Domont" userId="6da7715ce44349b3" providerId="LiveId" clId="{2349E0AC-9333-4F13-B2C9-E74906101359}" dt="2022-01-18T00:32:13.700" v="2041" actId="164"/>
          <ac:picMkLst>
            <pc:docMk/>
            <pc:sldMk cId="1819835358" sldId="2212"/>
            <ac:picMk id="15" creationId="{398F2540-B59B-4D5F-9697-D1EBA87669D5}"/>
          </ac:picMkLst>
        </pc:picChg>
        <pc:picChg chg="mod topLvl">
          <ac:chgData name="Aurelien Domont" userId="6da7715ce44349b3" providerId="LiveId" clId="{2349E0AC-9333-4F13-B2C9-E74906101359}" dt="2022-01-18T00:32:13.700" v="2041" actId="164"/>
          <ac:picMkLst>
            <pc:docMk/>
            <pc:sldMk cId="1819835358" sldId="2212"/>
            <ac:picMk id="17" creationId="{09696FBC-6BC1-492A-B2D9-00F4424B947F}"/>
          </ac:picMkLst>
        </pc:picChg>
        <pc:picChg chg="mod topLvl">
          <ac:chgData name="Aurelien Domont" userId="6da7715ce44349b3" providerId="LiveId" clId="{2349E0AC-9333-4F13-B2C9-E74906101359}" dt="2022-01-18T00:32:13.700" v="2041" actId="164"/>
          <ac:picMkLst>
            <pc:docMk/>
            <pc:sldMk cId="1819835358" sldId="2212"/>
            <ac:picMk id="18" creationId="{2CA1C184-9BAE-4ADD-BE0C-74D76F74D94E}"/>
          </ac:picMkLst>
        </pc:picChg>
        <pc:cxnChg chg="add mod">
          <ac:chgData name="Aurelien Domont" userId="6da7715ce44349b3" providerId="LiveId" clId="{2349E0AC-9333-4F13-B2C9-E74906101359}" dt="2022-01-18T00:34:41.740" v="2153" actId="1037"/>
          <ac:cxnSpMkLst>
            <pc:docMk/>
            <pc:sldMk cId="1819835358" sldId="2212"/>
            <ac:cxnSpMk id="24" creationId="{739DD4D3-831C-432A-AAC7-0BE75DE58841}"/>
          </ac:cxnSpMkLst>
        </pc:cxnChg>
        <pc:cxnChg chg="add mod">
          <ac:chgData name="Aurelien Domont" userId="6da7715ce44349b3" providerId="LiveId" clId="{2349E0AC-9333-4F13-B2C9-E74906101359}" dt="2022-01-18T00:34:51.212" v="2184" actId="1038"/>
          <ac:cxnSpMkLst>
            <pc:docMk/>
            <pc:sldMk cId="1819835358" sldId="2212"/>
            <ac:cxnSpMk id="27" creationId="{57291B43-950F-4EE8-AD8E-C50F63ABA791}"/>
          </ac:cxnSpMkLst>
        </pc:cxnChg>
        <pc:cxnChg chg="add del mod">
          <ac:chgData name="Aurelien Domont" userId="6da7715ce44349b3" providerId="LiveId" clId="{2349E0AC-9333-4F13-B2C9-E74906101359}" dt="2022-01-18T00:35:06.608" v="2185" actId="478"/>
          <ac:cxnSpMkLst>
            <pc:docMk/>
            <pc:sldMk cId="1819835358" sldId="2212"/>
            <ac:cxnSpMk id="30" creationId="{EB94D3B3-4F42-4C66-9D94-5D8C90B042F0}"/>
          </ac:cxnSpMkLst>
        </pc:cxnChg>
        <pc:cxnChg chg="add del mod">
          <ac:chgData name="Aurelien Domont" userId="6da7715ce44349b3" providerId="LiveId" clId="{2349E0AC-9333-4F13-B2C9-E74906101359}" dt="2022-01-18T00:35:06.608" v="2185" actId="478"/>
          <ac:cxnSpMkLst>
            <pc:docMk/>
            <pc:sldMk cId="1819835358" sldId="2212"/>
            <ac:cxnSpMk id="32" creationId="{6064A0E6-A534-4BA9-9B78-0DCE61CB2E1F}"/>
          </ac:cxnSpMkLst>
        </pc:cxnChg>
        <pc:cxnChg chg="add del mod">
          <ac:chgData name="Aurelien Domont" userId="6da7715ce44349b3" providerId="LiveId" clId="{2349E0AC-9333-4F13-B2C9-E74906101359}" dt="2022-01-18T00:35:06.608" v="2185" actId="478"/>
          <ac:cxnSpMkLst>
            <pc:docMk/>
            <pc:sldMk cId="1819835358" sldId="2212"/>
            <ac:cxnSpMk id="34" creationId="{7B7A8467-3049-4DE0-B05A-DBD4009815CC}"/>
          </ac:cxnSpMkLst>
        </pc:cxnChg>
        <pc:cxnChg chg="add mod">
          <ac:chgData name="Aurelien Domont" userId="6da7715ce44349b3" providerId="LiveId" clId="{2349E0AC-9333-4F13-B2C9-E74906101359}" dt="2022-01-18T00:35:14.266" v="2186" actId="571"/>
          <ac:cxnSpMkLst>
            <pc:docMk/>
            <pc:sldMk cId="1819835358" sldId="2212"/>
            <ac:cxnSpMk id="36" creationId="{27288C4D-AC3E-4C4C-928C-4C309B64B73F}"/>
          </ac:cxnSpMkLst>
        </pc:cxnChg>
        <pc:cxnChg chg="add mod">
          <ac:chgData name="Aurelien Domont" userId="6da7715ce44349b3" providerId="LiveId" clId="{2349E0AC-9333-4F13-B2C9-E74906101359}" dt="2022-01-18T00:35:17.612" v="2187" actId="571"/>
          <ac:cxnSpMkLst>
            <pc:docMk/>
            <pc:sldMk cId="1819835358" sldId="2212"/>
            <ac:cxnSpMk id="38" creationId="{64542919-6FDB-44D6-A342-D97FB1602566}"/>
          </ac:cxnSpMkLst>
        </pc:cxnChg>
        <pc:cxnChg chg="add mod">
          <ac:chgData name="Aurelien Domont" userId="6da7715ce44349b3" providerId="LiveId" clId="{2349E0AC-9333-4F13-B2C9-E74906101359}" dt="2022-01-18T00:35:19.858" v="2188" actId="571"/>
          <ac:cxnSpMkLst>
            <pc:docMk/>
            <pc:sldMk cId="1819835358" sldId="2212"/>
            <ac:cxnSpMk id="40" creationId="{D98A4F4A-374D-487D-95F8-179276D7E29F}"/>
          </ac:cxnSpMkLst>
        </pc:cxnChg>
        <pc:cxnChg chg="add mod">
          <ac:chgData name="Aurelien Domont" userId="6da7715ce44349b3" providerId="LiveId" clId="{2349E0AC-9333-4F13-B2C9-E74906101359}" dt="2022-01-18T00:35:22.917" v="2189" actId="571"/>
          <ac:cxnSpMkLst>
            <pc:docMk/>
            <pc:sldMk cId="1819835358" sldId="2212"/>
            <ac:cxnSpMk id="42" creationId="{EC2E4C59-03CF-465F-A3E4-251F88790835}"/>
          </ac:cxnSpMkLst>
        </pc:cxnChg>
        <pc:cxnChg chg="add del mod">
          <ac:chgData name="Aurelien Domont" userId="6da7715ce44349b3" providerId="LiveId" clId="{2349E0AC-9333-4F13-B2C9-E74906101359}" dt="2022-01-18T00:35:28.134" v="2191" actId="478"/>
          <ac:cxnSpMkLst>
            <pc:docMk/>
            <pc:sldMk cId="1819835358" sldId="2212"/>
            <ac:cxnSpMk id="44" creationId="{564BA077-249A-4CA9-926A-68E06A00BC66}"/>
          </ac:cxnSpMkLst>
        </pc:cxnChg>
      </pc:sldChg>
      <pc:sldChg chg="add del">
        <pc:chgData name="Aurelien Domont" userId="6da7715ce44349b3" providerId="LiveId" clId="{2349E0AC-9333-4F13-B2C9-E74906101359}" dt="2021-09-13T05:04:40.150" v="491"/>
        <pc:sldMkLst>
          <pc:docMk/>
          <pc:sldMk cId="3468609792" sldId="2212"/>
        </pc:sldMkLst>
      </pc:sldChg>
      <pc:sldChg chg="addSp delSp modSp add mod">
        <pc:chgData name="Aurelien Domont" userId="6da7715ce44349b3" providerId="LiveId" clId="{2349E0AC-9333-4F13-B2C9-E74906101359}" dt="2022-02-01T00:08:35.724" v="5694" actId="1036"/>
        <pc:sldMkLst>
          <pc:docMk/>
          <pc:sldMk cId="1501677046" sldId="2213"/>
        </pc:sldMkLst>
        <pc:spChg chg="mod">
          <ac:chgData name="Aurelien Domont" userId="6da7715ce44349b3" providerId="LiveId" clId="{2349E0AC-9333-4F13-B2C9-E74906101359}" dt="2022-01-25T06:26:17.315" v="4676" actId="20577"/>
          <ac:spMkLst>
            <pc:docMk/>
            <pc:sldMk cId="1501677046" sldId="2213"/>
            <ac:spMk id="16" creationId="{6C2BB713-9637-4B9B-938F-E9768876782A}"/>
          </ac:spMkLst>
        </pc:spChg>
        <pc:spChg chg="add mod">
          <ac:chgData name="Aurelien Domont" userId="6da7715ce44349b3" providerId="LiveId" clId="{2349E0AC-9333-4F13-B2C9-E74906101359}" dt="2021-09-13T05:55:22.849" v="749" actId="20577"/>
          <ac:spMkLst>
            <pc:docMk/>
            <pc:sldMk cId="1501677046" sldId="2213"/>
            <ac:spMk id="20" creationId="{7A76E8F9-DBF2-417D-8099-1BF8609451EA}"/>
          </ac:spMkLst>
        </pc:spChg>
        <pc:spChg chg="mod">
          <ac:chgData name="Aurelien Domont" userId="6da7715ce44349b3" providerId="LiveId" clId="{2349E0AC-9333-4F13-B2C9-E74906101359}" dt="2021-09-13T05:55:31.263" v="754" actId="20577"/>
          <ac:spMkLst>
            <pc:docMk/>
            <pc:sldMk cId="1501677046" sldId="2213"/>
            <ac:spMk id="24" creationId="{468FA227-5ED8-4D6D-A094-6124C40CF721}"/>
          </ac:spMkLst>
        </pc:spChg>
        <pc:spChg chg="mod">
          <ac:chgData name="Aurelien Domont" userId="6da7715ce44349b3" providerId="LiveId" clId="{2349E0AC-9333-4F13-B2C9-E74906101359}" dt="2021-09-13T05:55:28.833" v="750" actId="20577"/>
          <ac:spMkLst>
            <pc:docMk/>
            <pc:sldMk cId="1501677046" sldId="2213"/>
            <ac:spMk id="25" creationId="{3F67EFDE-ED88-458C-9546-D151580656D9}"/>
          </ac:spMkLst>
        </pc:spChg>
        <pc:spChg chg="mod">
          <ac:chgData name="Aurelien Domont" userId="6da7715ce44349b3" providerId="LiveId" clId="{2349E0AC-9333-4F13-B2C9-E74906101359}" dt="2022-02-01T00:08:31.152" v="5689" actId="1076"/>
          <ac:spMkLst>
            <pc:docMk/>
            <pc:sldMk cId="1501677046" sldId="2213"/>
            <ac:spMk id="27" creationId="{2B18C102-13BF-420F-BFD4-E9ACBCCAC2EC}"/>
          </ac:spMkLst>
        </pc:spChg>
        <pc:spChg chg="mod">
          <ac:chgData name="Aurelien Domont" userId="6da7715ce44349b3" providerId="LiveId" clId="{2349E0AC-9333-4F13-B2C9-E74906101359}" dt="2022-01-31T23:49:32.481" v="5662" actId="20577"/>
          <ac:spMkLst>
            <pc:docMk/>
            <pc:sldMk cId="1501677046" sldId="2213"/>
            <ac:spMk id="28" creationId="{FAB02ACD-2C6A-416F-86EE-D86E47E909A4}"/>
          </ac:spMkLst>
        </pc:spChg>
        <pc:picChg chg="add mod">
          <ac:chgData name="Aurelien Domont" userId="6da7715ce44349b3" providerId="LiveId" clId="{2349E0AC-9333-4F13-B2C9-E74906101359}" dt="2021-09-13T05:53:46.846" v="683" actId="108"/>
          <ac:picMkLst>
            <pc:docMk/>
            <pc:sldMk cId="1501677046" sldId="2213"/>
            <ac:picMk id="4" creationId="{67DAE8D9-2075-4279-BEF2-19612BB374DD}"/>
          </ac:picMkLst>
        </pc:picChg>
        <pc:picChg chg="del mod modCrop">
          <ac:chgData name="Aurelien Domont" userId="6da7715ce44349b3" providerId="LiveId" clId="{2349E0AC-9333-4F13-B2C9-E74906101359}" dt="2022-01-31T23:50:05.904" v="5663" actId="478"/>
          <ac:picMkLst>
            <pc:docMk/>
            <pc:sldMk cId="1501677046" sldId="2213"/>
            <ac:picMk id="7" creationId="{1100B3C5-CB48-44B9-8692-9EC3C59EDBEC}"/>
          </ac:picMkLst>
        </pc:picChg>
        <pc:picChg chg="add mod">
          <ac:chgData name="Aurelien Domont" userId="6da7715ce44349b3" providerId="LiveId" clId="{2349E0AC-9333-4F13-B2C9-E74906101359}" dt="2022-01-31T23:49:08.156" v="5651" actId="1076"/>
          <ac:picMkLst>
            <pc:docMk/>
            <pc:sldMk cId="1501677046" sldId="2213"/>
            <ac:picMk id="8" creationId="{B3E7ECF1-9BCA-437D-B0F9-889519826157}"/>
          </ac:picMkLst>
        </pc:picChg>
        <pc:picChg chg="add mod">
          <ac:chgData name="Aurelien Domont" userId="6da7715ce44349b3" providerId="LiveId" clId="{2349E0AC-9333-4F13-B2C9-E74906101359}" dt="2022-01-31T23:50:18.397" v="5669" actId="1076"/>
          <ac:picMkLst>
            <pc:docMk/>
            <pc:sldMk cId="1501677046" sldId="2213"/>
            <ac:picMk id="10" creationId="{D6A9D84F-CC07-48D2-8A1A-2019AB77FEBA}"/>
          </ac:picMkLst>
        </pc:picChg>
        <pc:picChg chg="add mod">
          <ac:chgData name="Aurelien Domont" userId="6da7715ce44349b3" providerId="LiveId" clId="{2349E0AC-9333-4F13-B2C9-E74906101359}" dt="2021-09-13T05:53:49.363" v="684" actId="571"/>
          <ac:picMkLst>
            <pc:docMk/>
            <pc:sldMk cId="1501677046" sldId="2213"/>
            <ac:picMk id="17" creationId="{A6F0A4F3-3DEB-4AC0-A25A-AB851C8A9F4B}"/>
          </ac:picMkLst>
        </pc:picChg>
        <pc:picChg chg="add mod">
          <ac:chgData name="Aurelien Domont" userId="6da7715ce44349b3" providerId="LiveId" clId="{2349E0AC-9333-4F13-B2C9-E74906101359}" dt="2022-02-01T00:08:35.724" v="5694" actId="1036"/>
          <ac:picMkLst>
            <pc:docMk/>
            <pc:sldMk cId="1501677046" sldId="2213"/>
            <ac:picMk id="18" creationId="{ABF70950-373B-4860-A32C-8C77DF6844BD}"/>
          </ac:picMkLst>
        </pc:picChg>
        <pc:picChg chg="add mod">
          <ac:chgData name="Aurelien Domont" userId="6da7715ce44349b3" providerId="LiveId" clId="{2349E0AC-9333-4F13-B2C9-E74906101359}" dt="2022-01-31T23:50:22.969" v="5670" actId="166"/>
          <ac:picMkLst>
            <pc:docMk/>
            <pc:sldMk cId="1501677046" sldId="2213"/>
            <ac:picMk id="19" creationId="{82F420D3-8691-4D2C-8956-0946AE2DDC43}"/>
          </ac:picMkLst>
        </pc:picChg>
        <pc:picChg chg="del">
          <ac:chgData name="Aurelien Domont" userId="6da7715ce44349b3" providerId="LiveId" clId="{2349E0AC-9333-4F13-B2C9-E74906101359}" dt="2022-01-31T23:49:04.344" v="5650" actId="478"/>
          <ac:picMkLst>
            <pc:docMk/>
            <pc:sldMk cId="1501677046" sldId="2213"/>
            <ac:picMk id="26" creationId="{652702BE-B318-41DF-9A7E-FF177C98901F}"/>
          </ac:picMkLst>
        </pc:picChg>
      </pc:sldChg>
      <pc:sldChg chg="addSp delSp modSp add mod">
        <pc:chgData name="Aurelien Domont" userId="6da7715ce44349b3" providerId="LiveId" clId="{2349E0AC-9333-4F13-B2C9-E74906101359}" dt="2022-03-16T03:49:17.368" v="5829"/>
        <pc:sldMkLst>
          <pc:docMk/>
          <pc:sldMk cId="1758187861" sldId="2214"/>
        </pc:sldMkLst>
        <pc:spChg chg="del mod">
          <ac:chgData name="Aurelien Domont" userId="6da7715ce44349b3" providerId="LiveId" clId="{2349E0AC-9333-4F13-B2C9-E74906101359}" dt="2022-01-25T06:21:10.138" v="4629" actId="478"/>
          <ac:spMkLst>
            <pc:docMk/>
            <pc:sldMk cId="1758187861" sldId="2214"/>
            <ac:spMk id="6" creationId="{238F0036-6BC1-440E-B8F1-6711ACC674F0}"/>
          </ac:spMkLst>
        </pc:spChg>
        <pc:spChg chg="del mod">
          <ac:chgData name="Aurelien Domont" userId="6da7715ce44349b3" providerId="LiveId" clId="{2349E0AC-9333-4F13-B2C9-E74906101359}" dt="2022-01-25T06:21:10.138" v="4629" actId="478"/>
          <ac:spMkLst>
            <pc:docMk/>
            <pc:sldMk cId="1758187861" sldId="2214"/>
            <ac:spMk id="8" creationId="{5AD20283-C610-4E4E-B7FD-0A74829B17D2}"/>
          </ac:spMkLst>
        </pc:spChg>
        <pc:spChg chg="del mod">
          <ac:chgData name="Aurelien Domont" userId="6da7715ce44349b3" providerId="LiveId" clId="{2349E0AC-9333-4F13-B2C9-E74906101359}" dt="2022-01-25T06:21:10.138" v="4629" actId="478"/>
          <ac:spMkLst>
            <pc:docMk/>
            <pc:sldMk cId="1758187861" sldId="2214"/>
            <ac:spMk id="9" creationId="{9916BF81-D831-4945-8A7F-F1BBF3BE00F7}"/>
          </ac:spMkLst>
        </pc:spChg>
        <pc:spChg chg="del">
          <ac:chgData name="Aurelien Domont" userId="6da7715ce44349b3" providerId="LiveId" clId="{2349E0AC-9333-4F13-B2C9-E74906101359}" dt="2022-01-25T06:21:10.138" v="4629" actId="478"/>
          <ac:spMkLst>
            <pc:docMk/>
            <pc:sldMk cId="1758187861" sldId="2214"/>
            <ac:spMk id="10" creationId="{B1C88FC8-A399-4036-A50C-88B22BCA06AE}"/>
          </ac:spMkLst>
        </pc:spChg>
        <pc:spChg chg="del mod">
          <ac:chgData name="Aurelien Domont" userId="6da7715ce44349b3" providerId="LiveId" clId="{2349E0AC-9333-4F13-B2C9-E74906101359}" dt="2022-01-25T06:21:10.138" v="4629" actId="478"/>
          <ac:spMkLst>
            <pc:docMk/>
            <pc:sldMk cId="1758187861" sldId="2214"/>
            <ac:spMk id="12" creationId="{669CF01D-E2E3-4BEE-B623-8324947E2082}"/>
          </ac:spMkLst>
        </pc:spChg>
        <pc:spChg chg="mod">
          <ac:chgData name="Aurelien Domont" userId="6da7715ce44349b3" providerId="LiveId" clId="{2349E0AC-9333-4F13-B2C9-E74906101359}" dt="2022-01-25T06:27:34.571" v="4698" actId="20577"/>
          <ac:spMkLst>
            <pc:docMk/>
            <pc:sldMk cId="1758187861" sldId="2214"/>
            <ac:spMk id="16" creationId="{6C2BB713-9637-4B9B-938F-E9768876782A}"/>
          </ac:spMkLst>
        </pc:spChg>
        <pc:spChg chg="del">
          <ac:chgData name="Aurelien Domont" userId="6da7715ce44349b3" providerId="LiveId" clId="{2349E0AC-9333-4F13-B2C9-E74906101359}" dt="2021-09-13T05:56:50.519" v="765" actId="478"/>
          <ac:spMkLst>
            <pc:docMk/>
            <pc:sldMk cId="1758187861" sldId="2214"/>
            <ac:spMk id="19" creationId="{40F450C2-7100-4D0F-91E4-597A71B103E4}"/>
          </ac:spMkLst>
        </pc:spChg>
        <pc:spChg chg="add mod">
          <ac:chgData name="Aurelien Domont" userId="6da7715ce44349b3" providerId="LiveId" clId="{2349E0AC-9333-4F13-B2C9-E74906101359}" dt="2022-01-25T06:21:29.097" v="4630"/>
          <ac:spMkLst>
            <pc:docMk/>
            <pc:sldMk cId="1758187861" sldId="2214"/>
            <ac:spMk id="19" creationId="{C6B0A235-8D38-48BD-BB48-D3B093522E12}"/>
          </ac:spMkLst>
        </pc:spChg>
        <pc:spChg chg="del">
          <ac:chgData name="Aurelien Domont" userId="6da7715ce44349b3" providerId="LiveId" clId="{2349E0AC-9333-4F13-B2C9-E74906101359}" dt="2021-09-13T05:56:50.519" v="765" actId="478"/>
          <ac:spMkLst>
            <pc:docMk/>
            <pc:sldMk cId="1758187861" sldId="2214"/>
            <ac:spMk id="20" creationId="{0C20E171-2CDF-4CC5-9794-E43D383FF666}"/>
          </ac:spMkLst>
        </pc:spChg>
        <pc:spChg chg="add mod">
          <ac:chgData name="Aurelien Domont" userId="6da7715ce44349b3" providerId="LiveId" clId="{2349E0AC-9333-4F13-B2C9-E74906101359}" dt="2022-01-25T06:21:29.097" v="4630"/>
          <ac:spMkLst>
            <pc:docMk/>
            <pc:sldMk cId="1758187861" sldId="2214"/>
            <ac:spMk id="20" creationId="{E5DF333B-B5B6-40FB-A5EB-7865FFF91032}"/>
          </ac:spMkLst>
        </pc:spChg>
        <pc:spChg chg="del mod">
          <ac:chgData name="Aurelien Domont" userId="6da7715ce44349b3" providerId="LiveId" clId="{2349E0AC-9333-4F13-B2C9-E74906101359}" dt="2022-01-25T06:21:10.138" v="4629" actId="478"/>
          <ac:spMkLst>
            <pc:docMk/>
            <pc:sldMk cId="1758187861" sldId="2214"/>
            <ac:spMk id="21" creationId="{071A8FDB-0B99-4D72-8433-F20F1989A3E1}"/>
          </ac:spMkLst>
        </pc:spChg>
        <pc:spChg chg="add mod">
          <ac:chgData name="Aurelien Domont" userId="6da7715ce44349b3" providerId="LiveId" clId="{2349E0AC-9333-4F13-B2C9-E74906101359}" dt="2022-01-25T06:21:29.097" v="4630"/>
          <ac:spMkLst>
            <pc:docMk/>
            <pc:sldMk cId="1758187861" sldId="2214"/>
            <ac:spMk id="22" creationId="{8CA4BF23-3B3A-495C-A217-38DE0724135E}"/>
          </ac:spMkLst>
        </pc:spChg>
        <pc:spChg chg="add mod">
          <ac:chgData name="Aurelien Domont" userId="6da7715ce44349b3" providerId="LiveId" clId="{2349E0AC-9333-4F13-B2C9-E74906101359}" dt="2022-01-25T06:21:29.097" v="4630"/>
          <ac:spMkLst>
            <pc:docMk/>
            <pc:sldMk cId="1758187861" sldId="2214"/>
            <ac:spMk id="23" creationId="{DF0DDA74-31B4-4E8A-A309-FAB1CA467B05}"/>
          </ac:spMkLst>
        </pc:spChg>
        <pc:spChg chg="add mod">
          <ac:chgData name="Aurelien Domont" userId="6da7715ce44349b3" providerId="LiveId" clId="{2349E0AC-9333-4F13-B2C9-E74906101359}" dt="2022-01-25T06:21:29.097" v="4630"/>
          <ac:spMkLst>
            <pc:docMk/>
            <pc:sldMk cId="1758187861" sldId="2214"/>
            <ac:spMk id="25" creationId="{6F5F982C-AD2E-46F0-93F0-7A1D71C27286}"/>
          </ac:spMkLst>
        </pc:spChg>
        <pc:spChg chg="add mod">
          <ac:chgData name="Aurelien Domont" userId="6da7715ce44349b3" providerId="LiveId" clId="{2349E0AC-9333-4F13-B2C9-E74906101359}" dt="2022-01-25T06:21:29.097" v="4630"/>
          <ac:spMkLst>
            <pc:docMk/>
            <pc:sldMk cId="1758187861" sldId="2214"/>
            <ac:spMk id="30" creationId="{1EB20852-39EE-40E5-B17C-94847F39ACAD}"/>
          </ac:spMkLst>
        </pc:spChg>
        <pc:spChg chg="add mod">
          <ac:chgData name="Aurelien Domont" userId="6da7715ce44349b3" providerId="LiveId" clId="{2349E0AC-9333-4F13-B2C9-E74906101359}" dt="2022-01-25T06:21:29.097" v="4630"/>
          <ac:spMkLst>
            <pc:docMk/>
            <pc:sldMk cId="1758187861" sldId="2214"/>
            <ac:spMk id="32" creationId="{B414A55C-F2F4-45EC-9B00-6250DE9E1E21}"/>
          </ac:spMkLst>
        </pc:spChg>
        <pc:spChg chg="add mod">
          <ac:chgData name="Aurelien Domont" userId="6da7715ce44349b3" providerId="LiveId" clId="{2349E0AC-9333-4F13-B2C9-E74906101359}" dt="2022-01-25T06:21:29.097" v="4630"/>
          <ac:spMkLst>
            <pc:docMk/>
            <pc:sldMk cId="1758187861" sldId="2214"/>
            <ac:spMk id="34" creationId="{56552A59-31FC-4B46-B6E5-38E17DB20DA2}"/>
          </ac:spMkLst>
        </pc:spChg>
        <pc:spChg chg="add mod">
          <ac:chgData name="Aurelien Domont" userId="6da7715ce44349b3" providerId="LiveId" clId="{2349E0AC-9333-4F13-B2C9-E74906101359}" dt="2022-01-25T06:21:29.097" v="4630"/>
          <ac:spMkLst>
            <pc:docMk/>
            <pc:sldMk cId="1758187861" sldId="2214"/>
            <ac:spMk id="36" creationId="{9A0B9700-F8C0-4130-8B20-26605543B585}"/>
          </ac:spMkLst>
        </pc:spChg>
        <pc:spChg chg="add mod">
          <ac:chgData name="Aurelien Domont" userId="6da7715ce44349b3" providerId="LiveId" clId="{2349E0AC-9333-4F13-B2C9-E74906101359}" dt="2022-01-25T06:21:29.097" v="4630"/>
          <ac:spMkLst>
            <pc:docMk/>
            <pc:sldMk cId="1758187861" sldId="2214"/>
            <ac:spMk id="38" creationId="{256AA621-C830-4910-BC98-FD7AEDE8D4AC}"/>
          </ac:spMkLst>
        </pc:spChg>
        <pc:spChg chg="add mod">
          <ac:chgData name="Aurelien Domont" userId="6da7715ce44349b3" providerId="LiveId" clId="{2349E0AC-9333-4F13-B2C9-E74906101359}" dt="2022-03-16T03:49:17.368" v="5829"/>
          <ac:spMkLst>
            <pc:docMk/>
            <pc:sldMk cId="1758187861" sldId="2214"/>
            <ac:spMk id="40" creationId="{C4DBD02F-1AC2-410A-B8BA-4994ED94E22E}"/>
          </ac:spMkLst>
        </pc:spChg>
        <pc:spChg chg="add mod">
          <ac:chgData name="Aurelien Domont" userId="6da7715ce44349b3" providerId="LiveId" clId="{2349E0AC-9333-4F13-B2C9-E74906101359}" dt="2022-01-25T06:21:29.097" v="4630"/>
          <ac:spMkLst>
            <pc:docMk/>
            <pc:sldMk cId="1758187861" sldId="2214"/>
            <ac:spMk id="42" creationId="{733D908A-0E75-4254-8596-437286C23099}"/>
          </ac:spMkLst>
        </pc:spChg>
        <pc:spChg chg="add mod">
          <ac:chgData name="Aurelien Domont" userId="6da7715ce44349b3" providerId="LiveId" clId="{2349E0AC-9333-4F13-B2C9-E74906101359}" dt="2022-01-25T06:21:29.097" v="4630"/>
          <ac:spMkLst>
            <pc:docMk/>
            <pc:sldMk cId="1758187861" sldId="2214"/>
            <ac:spMk id="44" creationId="{B0706CE6-7816-4C56-9959-B78EE46D6CFA}"/>
          </ac:spMkLst>
        </pc:spChg>
        <pc:spChg chg="add mod">
          <ac:chgData name="Aurelien Domont" userId="6da7715ce44349b3" providerId="LiveId" clId="{2349E0AC-9333-4F13-B2C9-E74906101359}" dt="2022-01-25T06:21:29.097" v="4630"/>
          <ac:spMkLst>
            <pc:docMk/>
            <pc:sldMk cId="1758187861" sldId="2214"/>
            <ac:spMk id="46" creationId="{C5265196-9A7A-4B71-94F2-B8BBCFAC80BD}"/>
          </ac:spMkLst>
        </pc:spChg>
        <pc:picChg chg="del mod">
          <ac:chgData name="Aurelien Domont" userId="6da7715ce44349b3" providerId="LiveId" clId="{2349E0AC-9333-4F13-B2C9-E74906101359}" dt="2022-01-25T06:21:10.138" v="4629" actId="478"/>
          <ac:picMkLst>
            <pc:docMk/>
            <pc:sldMk cId="1758187861" sldId="2214"/>
            <ac:picMk id="3" creationId="{597D2EEF-5A3E-4D2E-B870-9D84D816AD29}"/>
          </ac:picMkLst>
        </pc:picChg>
        <pc:picChg chg="del">
          <ac:chgData name="Aurelien Domont" userId="6da7715ce44349b3" providerId="LiveId" clId="{2349E0AC-9333-4F13-B2C9-E74906101359}" dt="2022-01-25T06:21:10.138" v="4629" actId="478"/>
          <ac:picMkLst>
            <pc:docMk/>
            <pc:sldMk cId="1758187861" sldId="2214"/>
            <ac:picMk id="11" creationId="{EC760C83-E385-463D-9CCD-28497A47952E}"/>
          </ac:picMkLst>
        </pc:picChg>
        <pc:picChg chg="del mod">
          <ac:chgData name="Aurelien Domont" userId="6da7715ce44349b3" providerId="LiveId" clId="{2349E0AC-9333-4F13-B2C9-E74906101359}" dt="2022-01-25T06:21:10.138" v="4629" actId="478"/>
          <ac:picMkLst>
            <pc:docMk/>
            <pc:sldMk cId="1758187861" sldId="2214"/>
            <ac:picMk id="14" creationId="{95D2287B-DEFC-4271-97FD-F9656371E0A0}"/>
          </ac:picMkLst>
        </pc:picChg>
        <pc:picChg chg="del mod">
          <ac:chgData name="Aurelien Domont" userId="6da7715ce44349b3" providerId="LiveId" clId="{2349E0AC-9333-4F13-B2C9-E74906101359}" dt="2022-01-25T06:21:10.138" v="4629" actId="478"/>
          <ac:picMkLst>
            <pc:docMk/>
            <pc:sldMk cId="1758187861" sldId="2214"/>
            <ac:picMk id="15" creationId="{398F2540-B59B-4D5F-9697-D1EBA87669D5}"/>
          </ac:picMkLst>
        </pc:picChg>
        <pc:picChg chg="del mod">
          <ac:chgData name="Aurelien Domont" userId="6da7715ce44349b3" providerId="LiveId" clId="{2349E0AC-9333-4F13-B2C9-E74906101359}" dt="2022-01-25T06:21:10.138" v="4629" actId="478"/>
          <ac:picMkLst>
            <pc:docMk/>
            <pc:sldMk cId="1758187861" sldId="2214"/>
            <ac:picMk id="17" creationId="{09696FBC-6BC1-492A-B2D9-00F4424B947F}"/>
          </ac:picMkLst>
        </pc:picChg>
        <pc:picChg chg="del mod">
          <ac:chgData name="Aurelien Domont" userId="6da7715ce44349b3" providerId="LiveId" clId="{2349E0AC-9333-4F13-B2C9-E74906101359}" dt="2022-01-25T06:21:10.138" v="4629" actId="478"/>
          <ac:picMkLst>
            <pc:docMk/>
            <pc:sldMk cId="1758187861" sldId="2214"/>
            <ac:picMk id="18" creationId="{2CA1C184-9BAE-4ADD-BE0C-74D76F74D94E}"/>
          </ac:picMkLst>
        </pc:picChg>
        <pc:picChg chg="add mod">
          <ac:chgData name="Aurelien Domont" userId="6da7715ce44349b3" providerId="LiveId" clId="{2349E0AC-9333-4F13-B2C9-E74906101359}" dt="2022-01-25T06:21:29.097" v="4630"/>
          <ac:picMkLst>
            <pc:docMk/>
            <pc:sldMk cId="1758187861" sldId="2214"/>
            <ac:picMk id="24" creationId="{47B17B6F-1789-4F49-8232-922C7B5339A9}"/>
          </ac:picMkLst>
        </pc:picChg>
        <pc:picChg chg="add mod">
          <ac:chgData name="Aurelien Domont" userId="6da7715ce44349b3" providerId="LiveId" clId="{2349E0AC-9333-4F13-B2C9-E74906101359}" dt="2022-01-25T06:21:29.097" v="4630"/>
          <ac:picMkLst>
            <pc:docMk/>
            <pc:sldMk cId="1758187861" sldId="2214"/>
            <ac:picMk id="26" creationId="{20B3B453-6279-4C40-BCA1-A49FA9257F50}"/>
          </ac:picMkLst>
        </pc:picChg>
        <pc:picChg chg="add mod">
          <ac:chgData name="Aurelien Domont" userId="6da7715ce44349b3" providerId="LiveId" clId="{2349E0AC-9333-4F13-B2C9-E74906101359}" dt="2022-01-25T06:21:29.097" v="4630"/>
          <ac:picMkLst>
            <pc:docMk/>
            <pc:sldMk cId="1758187861" sldId="2214"/>
            <ac:picMk id="27" creationId="{D171FB39-E2A8-4A75-AA7A-55D6F374EE9D}"/>
          </ac:picMkLst>
        </pc:picChg>
        <pc:picChg chg="add mod">
          <ac:chgData name="Aurelien Domont" userId="6da7715ce44349b3" providerId="LiveId" clId="{2349E0AC-9333-4F13-B2C9-E74906101359}" dt="2022-01-25T06:21:29.097" v="4630"/>
          <ac:picMkLst>
            <pc:docMk/>
            <pc:sldMk cId="1758187861" sldId="2214"/>
            <ac:picMk id="28" creationId="{8BA25537-5E67-4AFB-BB57-F7ECE0FD69FB}"/>
          </ac:picMkLst>
        </pc:picChg>
        <pc:picChg chg="add mod">
          <ac:chgData name="Aurelien Domont" userId="6da7715ce44349b3" providerId="LiveId" clId="{2349E0AC-9333-4F13-B2C9-E74906101359}" dt="2022-01-25T06:21:29.097" v="4630"/>
          <ac:picMkLst>
            <pc:docMk/>
            <pc:sldMk cId="1758187861" sldId="2214"/>
            <ac:picMk id="29" creationId="{BB41A05E-0C2E-4D86-A58A-DA58FF0CF5D6}"/>
          </ac:picMkLst>
        </pc:picChg>
        <pc:picChg chg="add mod">
          <ac:chgData name="Aurelien Domont" userId="6da7715ce44349b3" providerId="LiveId" clId="{2349E0AC-9333-4F13-B2C9-E74906101359}" dt="2022-01-25T06:21:29.097" v="4630"/>
          <ac:picMkLst>
            <pc:docMk/>
            <pc:sldMk cId="1758187861" sldId="2214"/>
            <ac:picMk id="31" creationId="{4400597E-1863-44A9-A2D8-A31195DB2DE2}"/>
          </ac:picMkLst>
        </pc:picChg>
        <pc:picChg chg="add mod">
          <ac:chgData name="Aurelien Domont" userId="6da7715ce44349b3" providerId="LiveId" clId="{2349E0AC-9333-4F13-B2C9-E74906101359}" dt="2022-01-25T06:21:29.097" v="4630"/>
          <ac:picMkLst>
            <pc:docMk/>
            <pc:sldMk cId="1758187861" sldId="2214"/>
            <ac:picMk id="33" creationId="{61144886-B62F-45C4-B789-5738BF8CC3D9}"/>
          </ac:picMkLst>
        </pc:picChg>
        <pc:cxnChg chg="add mod">
          <ac:chgData name="Aurelien Domont" userId="6da7715ce44349b3" providerId="LiveId" clId="{2349E0AC-9333-4F13-B2C9-E74906101359}" dt="2022-01-25T06:21:29.097" v="4630"/>
          <ac:cxnSpMkLst>
            <pc:docMk/>
            <pc:sldMk cId="1758187861" sldId="2214"/>
            <ac:cxnSpMk id="35" creationId="{C0838DD3-C77F-45BA-8E45-972E6847A216}"/>
          </ac:cxnSpMkLst>
        </pc:cxnChg>
        <pc:cxnChg chg="add mod">
          <ac:chgData name="Aurelien Domont" userId="6da7715ce44349b3" providerId="LiveId" clId="{2349E0AC-9333-4F13-B2C9-E74906101359}" dt="2022-01-25T06:21:29.097" v="4630"/>
          <ac:cxnSpMkLst>
            <pc:docMk/>
            <pc:sldMk cId="1758187861" sldId="2214"/>
            <ac:cxnSpMk id="37" creationId="{405D274D-6A17-4AAE-92BF-673BA79DB2B7}"/>
          </ac:cxnSpMkLst>
        </pc:cxnChg>
        <pc:cxnChg chg="add mod">
          <ac:chgData name="Aurelien Domont" userId="6da7715ce44349b3" providerId="LiveId" clId="{2349E0AC-9333-4F13-B2C9-E74906101359}" dt="2022-01-25T06:21:29.097" v="4630"/>
          <ac:cxnSpMkLst>
            <pc:docMk/>
            <pc:sldMk cId="1758187861" sldId="2214"/>
            <ac:cxnSpMk id="39" creationId="{91CC49D8-7D14-426A-97E8-C89810FC59CC}"/>
          </ac:cxnSpMkLst>
        </pc:cxnChg>
        <pc:cxnChg chg="add mod">
          <ac:chgData name="Aurelien Domont" userId="6da7715ce44349b3" providerId="LiveId" clId="{2349E0AC-9333-4F13-B2C9-E74906101359}" dt="2022-01-25T06:21:29.097" v="4630"/>
          <ac:cxnSpMkLst>
            <pc:docMk/>
            <pc:sldMk cId="1758187861" sldId="2214"/>
            <ac:cxnSpMk id="41" creationId="{727D01E0-8561-40E6-A9F7-149B70513D0E}"/>
          </ac:cxnSpMkLst>
        </pc:cxnChg>
        <pc:cxnChg chg="add mod">
          <ac:chgData name="Aurelien Domont" userId="6da7715ce44349b3" providerId="LiveId" clId="{2349E0AC-9333-4F13-B2C9-E74906101359}" dt="2022-01-25T06:21:29.097" v="4630"/>
          <ac:cxnSpMkLst>
            <pc:docMk/>
            <pc:sldMk cId="1758187861" sldId="2214"/>
            <ac:cxnSpMk id="43" creationId="{44B5A081-ECE8-4104-94FC-4414418529B5}"/>
          </ac:cxnSpMkLst>
        </pc:cxnChg>
        <pc:cxnChg chg="add mod">
          <ac:chgData name="Aurelien Domont" userId="6da7715ce44349b3" providerId="LiveId" clId="{2349E0AC-9333-4F13-B2C9-E74906101359}" dt="2022-01-25T06:21:29.097" v="4630"/>
          <ac:cxnSpMkLst>
            <pc:docMk/>
            <pc:sldMk cId="1758187861" sldId="2214"/>
            <ac:cxnSpMk id="45" creationId="{673A918E-0248-4C1E-8571-08006889318D}"/>
          </ac:cxnSpMkLst>
        </pc:cxnChg>
      </pc:sldChg>
      <pc:sldChg chg="modSp add del mod">
        <pc:chgData name="Aurelien Domont" userId="6da7715ce44349b3" providerId="LiveId" clId="{2349E0AC-9333-4F13-B2C9-E74906101359}" dt="2022-01-25T06:24:40.990" v="4657" actId="47"/>
        <pc:sldMkLst>
          <pc:docMk/>
          <pc:sldMk cId="2812549359" sldId="2215"/>
        </pc:sldMkLst>
        <pc:spChg chg="mod">
          <ac:chgData name="Aurelien Domont" userId="6da7715ce44349b3" providerId="LiveId" clId="{2349E0AC-9333-4F13-B2C9-E74906101359}" dt="2021-09-13T06:02:17.563" v="776" actId="108"/>
          <ac:spMkLst>
            <pc:docMk/>
            <pc:sldMk cId="2812549359" sldId="2215"/>
            <ac:spMk id="6" creationId="{238F0036-6BC1-440E-B8F1-6711ACC674F0}"/>
          </ac:spMkLst>
        </pc:spChg>
        <pc:spChg chg="mod">
          <ac:chgData name="Aurelien Domont" userId="6da7715ce44349b3" providerId="LiveId" clId="{2349E0AC-9333-4F13-B2C9-E74906101359}" dt="2021-09-13T06:02:22.606" v="778" actId="108"/>
          <ac:spMkLst>
            <pc:docMk/>
            <pc:sldMk cId="2812549359" sldId="2215"/>
            <ac:spMk id="10" creationId="{B1C88FC8-A399-4036-A50C-88B22BCA06AE}"/>
          </ac:spMkLst>
        </pc:spChg>
        <pc:spChg chg="mod">
          <ac:chgData name="Aurelien Domont" userId="6da7715ce44349b3" providerId="LiveId" clId="{2349E0AC-9333-4F13-B2C9-E74906101359}" dt="2021-09-13T07:13:21.634" v="1531"/>
          <ac:spMkLst>
            <pc:docMk/>
            <pc:sldMk cId="2812549359" sldId="2215"/>
            <ac:spMk id="12" creationId="{669CF01D-E2E3-4BEE-B623-8324947E2082}"/>
          </ac:spMkLst>
        </pc:spChg>
        <pc:spChg chg="mod">
          <ac:chgData name="Aurelien Domont" userId="6da7715ce44349b3" providerId="LiveId" clId="{2349E0AC-9333-4F13-B2C9-E74906101359}" dt="2021-09-13T06:02:28.965" v="780" actId="20577"/>
          <ac:spMkLst>
            <pc:docMk/>
            <pc:sldMk cId="2812549359" sldId="2215"/>
            <ac:spMk id="16" creationId="{6C2BB713-9637-4B9B-938F-E9768876782A}"/>
          </ac:spMkLst>
        </pc:spChg>
        <pc:picChg chg="mod">
          <ac:chgData name="Aurelien Domont" userId="6da7715ce44349b3" providerId="LiveId" clId="{2349E0AC-9333-4F13-B2C9-E74906101359}" dt="2021-09-13T06:02:25.284" v="779" actId="108"/>
          <ac:picMkLst>
            <pc:docMk/>
            <pc:sldMk cId="2812549359" sldId="2215"/>
            <ac:picMk id="11" creationId="{EC760C83-E385-463D-9CCD-28497A47952E}"/>
          </ac:picMkLst>
        </pc:picChg>
        <pc:picChg chg="mod">
          <ac:chgData name="Aurelien Domont" userId="6da7715ce44349b3" providerId="LiveId" clId="{2349E0AC-9333-4F13-B2C9-E74906101359}" dt="2021-09-13T06:02:20.028" v="777" actId="108"/>
          <ac:picMkLst>
            <pc:docMk/>
            <pc:sldMk cId="2812549359" sldId="2215"/>
            <ac:picMk id="15" creationId="{398F2540-B59B-4D5F-9697-D1EBA87669D5}"/>
          </ac:picMkLst>
        </pc:picChg>
      </pc:sldChg>
      <pc:sldChg chg="add del">
        <pc:chgData name="Aurelien Domont" userId="6da7715ce44349b3" providerId="LiveId" clId="{2349E0AC-9333-4F13-B2C9-E74906101359}" dt="2021-09-13T07:00:50.940" v="1471" actId="47"/>
        <pc:sldMkLst>
          <pc:docMk/>
          <pc:sldMk cId="1170742992" sldId="2216"/>
        </pc:sldMkLst>
      </pc:sldChg>
      <pc:sldChg chg="addSp delSp modSp add del mod">
        <pc:chgData name="Aurelien Domont" userId="6da7715ce44349b3" providerId="LiveId" clId="{2349E0AC-9333-4F13-B2C9-E74906101359}" dt="2022-01-25T06:25:10.043" v="4668" actId="47"/>
        <pc:sldMkLst>
          <pc:docMk/>
          <pc:sldMk cId="1733027499" sldId="2217"/>
        </pc:sldMkLst>
        <pc:spChg chg="add mod">
          <ac:chgData name="Aurelien Domont" userId="6da7715ce44349b3" providerId="LiveId" clId="{2349E0AC-9333-4F13-B2C9-E74906101359}" dt="2021-09-13T06:58:11.871" v="1437" actId="14100"/>
          <ac:spMkLst>
            <pc:docMk/>
            <pc:sldMk cId="1733027499" sldId="2217"/>
            <ac:spMk id="4" creationId="{1A3211B1-7C05-4E22-A9B5-D36FDA4A758D}"/>
          </ac:spMkLst>
        </pc:spChg>
        <pc:spChg chg="del">
          <ac:chgData name="Aurelien Domont" userId="6da7715ce44349b3" providerId="LiveId" clId="{2349E0AC-9333-4F13-B2C9-E74906101359}" dt="2021-09-13T06:50:23.021" v="1106" actId="478"/>
          <ac:spMkLst>
            <pc:docMk/>
            <pc:sldMk cId="1733027499" sldId="2217"/>
            <ac:spMk id="7" creationId="{1011ABFB-AE74-4E3F-AD2A-B71B4D1DCFFE}"/>
          </ac:spMkLst>
        </pc:spChg>
        <pc:spChg chg="del">
          <ac:chgData name="Aurelien Domont" userId="6da7715ce44349b3" providerId="LiveId" clId="{2349E0AC-9333-4F13-B2C9-E74906101359}" dt="2021-09-13T06:50:23.021" v="1106" actId="478"/>
          <ac:spMkLst>
            <pc:docMk/>
            <pc:sldMk cId="1733027499" sldId="2217"/>
            <ac:spMk id="10" creationId="{AEFE6601-5234-484E-9432-5673F630DD4B}"/>
          </ac:spMkLst>
        </pc:spChg>
        <pc:spChg chg="mod">
          <ac:chgData name="Aurelien Domont" userId="6da7715ce44349b3" providerId="LiveId" clId="{2349E0AC-9333-4F13-B2C9-E74906101359}" dt="2021-09-13T06:56:56.859" v="1388" actId="1035"/>
          <ac:spMkLst>
            <pc:docMk/>
            <pc:sldMk cId="1733027499" sldId="2217"/>
            <ac:spMk id="15" creationId="{BCE5CA50-BF41-416E-A6F6-506BA459198B}"/>
          </ac:spMkLst>
        </pc:spChg>
        <pc:spChg chg="mod">
          <ac:chgData name="Aurelien Domont" userId="6da7715ce44349b3" providerId="LiveId" clId="{2349E0AC-9333-4F13-B2C9-E74906101359}" dt="2021-09-13T07:00:47.347" v="1470" actId="20577"/>
          <ac:spMkLst>
            <pc:docMk/>
            <pc:sldMk cId="1733027499" sldId="2217"/>
            <ac:spMk id="16" creationId="{6C2BB713-9637-4B9B-938F-E9768876782A}"/>
          </ac:spMkLst>
        </pc:spChg>
        <pc:picChg chg="del">
          <ac:chgData name="Aurelien Domont" userId="6da7715ce44349b3" providerId="LiveId" clId="{2349E0AC-9333-4F13-B2C9-E74906101359}" dt="2021-09-13T06:50:23.021" v="1106" actId="478"/>
          <ac:picMkLst>
            <pc:docMk/>
            <pc:sldMk cId="1733027499" sldId="2217"/>
            <ac:picMk id="2" creationId="{7B3383E0-E8F7-4812-A1B8-75B0F54F6A56}"/>
          </ac:picMkLst>
        </pc:picChg>
        <pc:picChg chg="del">
          <ac:chgData name="Aurelien Domont" userId="6da7715ce44349b3" providerId="LiveId" clId="{2349E0AC-9333-4F13-B2C9-E74906101359}" dt="2021-09-13T06:50:23.021" v="1106" actId="478"/>
          <ac:picMkLst>
            <pc:docMk/>
            <pc:sldMk cId="1733027499" sldId="2217"/>
            <ac:picMk id="6" creationId="{32F73633-4336-48C2-B986-969E3D8A1351}"/>
          </ac:picMkLst>
        </pc:picChg>
        <pc:picChg chg="del">
          <ac:chgData name="Aurelien Domont" userId="6da7715ce44349b3" providerId="LiveId" clId="{2349E0AC-9333-4F13-B2C9-E74906101359}" dt="2021-09-13T06:50:23.021" v="1106" actId="478"/>
          <ac:picMkLst>
            <pc:docMk/>
            <pc:sldMk cId="1733027499" sldId="2217"/>
            <ac:picMk id="9" creationId="{936EA75A-6C63-4EFA-8687-05688661B938}"/>
          </ac:picMkLst>
        </pc:picChg>
        <pc:picChg chg="del">
          <ac:chgData name="Aurelien Domont" userId="6da7715ce44349b3" providerId="LiveId" clId="{2349E0AC-9333-4F13-B2C9-E74906101359}" dt="2021-09-13T06:50:23.021" v="1106" actId="478"/>
          <ac:picMkLst>
            <pc:docMk/>
            <pc:sldMk cId="1733027499" sldId="2217"/>
            <ac:picMk id="11" creationId="{295357B5-B446-4DE0-9464-7E49F08AA96C}"/>
          </ac:picMkLst>
        </pc:picChg>
        <pc:picChg chg="mod">
          <ac:chgData name="Aurelien Domont" userId="6da7715ce44349b3" providerId="LiveId" clId="{2349E0AC-9333-4F13-B2C9-E74906101359}" dt="2021-09-13T06:57:16.580" v="1430" actId="1035"/>
          <ac:picMkLst>
            <pc:docMk/>
            <pc:sldMk cId="1733027499" sldId="2217"/>
            <ac:picMk id="14" creationId="{270C3430-B572-4369-AAE8-C8576D7612D5}"/>
          </ac:picMkLst>
        </pc:picChg>
        <pc:picChg chg="mod">
          <ac:chgData name="Aurelien Domont" userId="6da7715ce44349b3" providerId="LiveId" clId="{2349E0AC-9333-4F13-B2C9-E74906101359}" dt="2021-09-13T06:57:16.580" v="1430" actId="1035"/>
          <ac:picMkLst>
            <pc:docMk/>
            <pc:sldMk cId="1733027499" sldId="2217"/>
            <ac:picMk id="17" creationId="{F455CA9E-8D53-4032-9AAD-6C4B21BE4D4A}"/>
          </ac:picMkLst>
        </pc:picChg>
        <pc:picChg chg="add mod">
          <ac:chgData name="Aurelien Domont" userId="6da7715ce44349b3" providerId="LiveId" clId="{2349E0AC-9333-4F13-B2C9-E74906101359}" dt="2021-09-13T07:24:18.967" v="1892"/>
          <ac:picMkLst>
            <pc:docMk/>
            <pc:sldMk cId="1733027499" sldId="2217"/>
            <ac:picMk id="18" creationId="{8712C3AC-B779-490E-BA9A-BBD7EE496E76}"/>
          </ac:picMkLst>
        </pc:picChg>
      </pc:sldChg>
      <pc:sldChg chg="addSp delSp modSp add del mod">
        <pc:chgData name="Aurelien Domont" userId="6da7715ce44349b3" providerId="LiveId" clId="{2349E0AC-9333-4F13-B2C9-E74906101359}" dt="2022-01-25T06:25:14.995" v="4673" actId="47"/>
        <pc:sldMkLst>
          <pc:docMk/>
          <pc:sldMk cId="115266964" sldId="2218"/>
        </pc:sldMkLst>
        <pc:spChg chg="mod">
          <ac:chgData name="Aurelien Domont" userId="6da7715ce44349b3" providerId="LiveId" clId="{2349E0AC-9333-4F13-B2C9-E74906101359}" dt="2021-09-13T07:15:52.211" v="1560" actId="20577"/>
          <ac:spMkLst>
            <pc:docMk/>
            <pc:sldMk cId="115266964" sldId="2218"/>
            <ac:spMk id="16" creationId="{6C2BB713-9637-4B9B-938F-E9768876782A}"/>
          </ac:spMkLst>
        </pc:spChg>
        <pc:spChg chg="add mod">
          <ac:chgData name="Aurelien Domont" userId="6da7715ce44349b3" providerId="LiveId" clId="{2349E0AC-9333-4F13-B2C9-E74906101359}" dt="2021-09-13T07:16:00.110" v="1562"/>
          <ac:spMkLst>
            <pc:docMk/>
            <pc:sldMk cId="115266964" sldId="2218"/>
            <ac:spMk id="17" creationId="{20F67D64-EE54-4F31-9BEB-88B37CDC1779}"/>
          </ac:spMkLst>
        </pc:spChg>
        <pc:spChg chg="add mod">
          <ac:chgData name="Aurelien Domont" userId="6da7715ce44349b3" providerId="LiveId" clId="{2349E0AC-9333-4F13-B2C9-E74906101359}" dt="2021-09-13T07:16:00.110" v="1562"/>
          <ac:spMkLst>
            <pc:docMk/>
            <pc:sldMk cId="115266964" sldId="2218"/>
            <ac:spMk id="18" creationId="{C2E777FD-1AEE-4336-816D-2EE1C329170E}"/>
          </ac:spMkLst>
        </pc:spChg>
        <pc:spChg chg="add mod">
          <ac:chgData name="Aurelien Domont" userId="6da7715ce44349b3" providerId="LiveId" clId="{2349E0AC-9333-4F13-B2C9-E74906101359}" dt="2021-09-13T07:16:00.110" v="1562"/>
          <ac:spMkLst>
            <pc:docMk/>
            <pc:sldMk cId="115266964" sldId="2218"/>
            <ac:spMk id="19" creationId="{07C02FBE-BD51-4BD0-A64A-A25A8975041C}"/>
          </ac:spMkLst>
        </pc:spChg>
        <pc:spChg chg="add mod">
          <ac:chgData name="Aurelien Domont" userId="6da7715ce44349b3" providerId="LiveId" clId="{2349E0AC-9333-4F13-B2C9-E74906101359}" dt="2021-09-13T07:16:00.110" v="1562"/>
          <ac:spMkLst>
            <pc:docMk/>
            <pc:sldMk cId="115266964" sldId="2218"/>
            <ac:spMk id="20" creationId="{454FA4D6-136F-4953-AB5D-38AF9F3382E8}"/>
          </ac:spMkLst>
        </pc:spChg>
        <pc:spChg chg="add mod">
          <ac:chgData name="Aurelien Domont" userId="6da7715ce44349b3" providerId="LiveId" clId="{2349E0AC-9333-4F13-B2C9-E74906101359}" dt="2021-09-13T07:16:12.092" v="1565" actId="108"/>
          <ac:spMkLst>
            <pc:docMk/>
            <pc:sldMk cId="115266964" sldId="2218"/>
            <ac:spMk id="22" creationId="{7A6C9B73-C334-458C-8BE6-118A2B37FEA1}"/>
          </ac:spMkLst>
        </pc:spChg>
        <pc:spChg chg="add mod">
          <ac:chgData name="Aurelien Domont" userId="6da7715ce44349b3" providerId="LiveId" clId="{2349E0AC-9333-4F13-B2C9-E74906101359}" dt="2021-09-13T07:16:04.684" v="1563" actId="108"/>
          <ac:spMkLst>
            <pc:docMk/>
            <pc:sldMk cId="115266964" sldId="2218"/>
            <ac:spMk id="27" creationId="{2478787A-3159-4F9F-8E99-B896AACCF14A}"/>
          </ac:spMkLst>
        </pc:spChg>
        <pc:spChg chg="del">
          <ac:chgData name="Aurelien Domont" userId="6da7715ce44349b3" providerId="LiveId" clId="{2349E0AC-9333-4F13-B2C9-E74906101359}" dt="2021-09-13T07:15:59.907" v="1561" actId="478"/>
          <ac:spMkLst>
            <pc:docMk/>
            <pc:sldMk cId="115266964" sldId="2218"/>
            <ac:spMk id="38" creationId="{0EB4D640-58C1-42F3-8F9A-D1E7345556C9}"/>
          </ac:spMkLst>
        </pc:spChg>
        <pc:spChg chg="del">
          <ac:chgData name="Aurelien Domont" userId="6da7715ce44349b3" providerId="LiveId" clId="{2349E0AC-9333-4F13-B2C9-E74906101359}" dt="2021-09-13T07:15:59.907" v="1561" actId="478"/>
          <ac:spMkLst>
            <pc:docMk/>
            <pc:sldMk cId="115266964" sldId="2218"/>
            <ac:spMk id="39" creationId="{35C29905-3836-471B-B334-CFC61749B365}"/>
          </ac:spMkLst>
        </pc:spChg>
        <pc:spChg chg="del">
          <ac:chgData name="Aurelien Domont" userId="6da7715ce44349b3" providerId="LiveId" clId="{2349E0AC-9333-4F13-B2C9-E74906101359}" dt="2021-09-13T07:15:59.907" v="1561" actId="478"/>
          <ac:spMkLst>
            <pc:docMk/>
            <pc:sldMk cId="115266964" sldId="2218"/>
            <ac:spMk id="40" creationId="{EA67CAED-446A-429F-BE71-EDFD1EF6435D}"/>
          </ac:spMkLst>
        </pc:spChg>
        <pc:spChg chg="del">
          <ac:chgData name="Aurelien Domont" userId="6da7715ce44349b3" providerId="LiveId" clId="{2349E0AC-9333-4F13-B2C9-E74906101359}" dt="2021-09-13T07:15:59.907" v="1561" actId="478"/>
          <ac:spMkLst>
            <pc:docMk/>
            <pc:sldMk cId="115266964" sldId="2218"/>
            <ac:spMk id="41" creationId="{9C465857-9A4C-46D3-A08F-ED5EB8FB6E54}"/>
          </ac:spMkLst>
        </pc:spChg>
        <pc:spChg chg="del">
          <ac:chgData name="Aurelien Domont" userId="6da7715ce44349b3" providerId="LiveId" clId="{2349E0AC-9333-4F13-B2C9-E74906101359}" dt="2021-09-13T07:15:59.907" v="1561" actId="478"/>
          <ac:spMkLst>
            <pc:docMk/>
            <pc:sldMk cId="115266964" sldId="2218"/>
            <ac:spMk id="43" creationId="{953A42D6-9E38-4497-A21C-ED7E998CF115}"/>
          </ac:spMkLst>
        </pc:spChg>
        <pc:spChg chg="del">
          <ac:chgData name="Aurelien Domont" userId="6da7715ce44349b3" providerId="LiveId" clId="{2349E0AC-9333-4F13-B2C9-E74906101359}" dt="2021-09-13T07:15:59.907" v="1561" actId="478"/>
          <ac:spMkLst>
            <pc:docMk/>
            <pc:sldMk cId="115266964" sldId="2218"/>
            <ac:spMk id="48" creationId="{B8514B2B-84F6-49A2-84BF-729223F23D6A}"/>
          </ac:spMkLst>
        </pc:spChg>
        <pc:picChg chg="add mod">
          <ac:chgData name="Aurelien Domont" userId="6da7715ce44349b3" providerId="LiveId" clId="{2349E0AC-9333-4F13-B2C9-E74906101359}" dt="2021-09-13T07:16:00.110" v="1562"/>
          <ac:picMkLst>
            <pc:docMk/>
            <pc:sldMk cId="115266964" sldId="2218"/>
            <ac:picMk id="21" creationId="{2DCB8A1C-C5C6-4946-9EFF-2F93058F31A2}"/>
          </ac:picMkLst>
        </pc:picChg>
        <pc:picChg chg="add mod">
          <ac:chgData name="Aurelien Domont" userId="6da7715ce44349b3" providerId="LiveId" clId="{2349E0AC-9333-4F13-B2C9-E74906101359}" dt="2021-09-13T07:16:00.110" v="1562"/>
          <ac:picMkLst>
            <pc:docMk/>
            <pc:sldMk cId="115266964" sldId="2218"/>
            <ac:picMk id="23" creationId="{B98F53B2-BD6F-4312-9B85-026F4F3D22E4}"/>
          </ac:picMkLst>
        </pc:picChg>
        <pc:picChg chg="add mod">
          <ac:chgData name="Aurelien Domont" userId="6da7715ce44349b3" providerId="LiveId" clId="{2349E0AC-9333-4F13-B2C9-E74906101359}" dt="2021-09-13T07:16:00.110" v="1562"/>
          <ac:picMkLst>
            <pc:docMk/>
            <pc:sldMk cId="115266964" sldId="2218"/>
            <ac:picMk id="24" creationId="{2B408E5B-8DE8-4BA0-8AEE-D6BCFED022C4}"/>
          </ac:picMkLst>
        </pc:picChg>
        <pc:picChg chg="add mod">
          <ac:chgData name="Aurelien Domont" userId="6da7715ce44349b3" providerId="LiveId" clId="{2349E0AC-9333-4F13-B2C9-E74906101359}" dt="2021-09-13T07:16:00.110" v="1562"/>
          <ac:picMkLst>
            <pc:docMk/>
            <pc:sldMk cId="115266964" sldId="2218"/>
            <ac:picMk id="25" creationId="{7042191D-77E2-477B-A5DF-7C11B6B560A7}"/>
          </ac:picMkLst>
        </pc:picChg>
        <pc:picChg chg="add mod">
          <ac:chgData name="Aurelien Domont" userId="6da7715ce44349b3" providerId="LiveId" clId="{2349E0AC-9333-4F13-B2C9-E74906101359}" dt="2021-09-13T07:16:15.662" v="1566" actId="108"/>
          <ac:picMkLst>
            <pc:docMk/>
            <pc:sldMk cId="115266964" sldId="2218"/>
            <ac:picMk id="26" creationId="{4155D95A-C748-4354-855B-5DABC1217650}"/>
          </ac:picMkLst>
        </pc:picChg>
        <pc:picChg chg="add mod">
          <ac:chgData name="Aurelien Domont" userId="6da7715ce44349b3" providerId="LiveId" clId="{2349E0AC-9333-4F13-B2C9-E74906101359}" dt="2021-09-13T07:16:07.573" v="1564" actId="108"/>
          <ac:picMkLst>
            <pc:docMk/>
            <pc:sldMk cId="115266964" sldId="2218"/>
            <ac:picMk id="28" creationId="{E6DC1DB8-B725-4109-8C55-CB9D0BE368DB}"/>
          </ac:picMkLst>
        </pc:picChg>
        <pc:picChg chg="del">
          <ac:chgData name="Aurelien Domont" userId="6da7715ce44349b3" providerId="LiveId" clId="{2349E0AC-9333-4F13-B2C9-E74906101359}" dt="2021-09-13T07:15:59.907" v="1561" actId="478"/>
          <ac:picMkLst>
            <pc:docMk/>
            <pc:sldMk cId="115266964" sldId="2218"/>
            <ac:picMk id="42" creationId="{CFDA1E1D-E689-46E8-A47C-D641D2A8B878}"/>
          </ac:picMkLst>
        </pc:picChg>
        <pc:picChg chg="del">
          <ac:chgData name="Aurelien Domont" userId="6da7715ce44349b3" providerId="LiveId" clId="{2349E0AC-9333-4F13-B2C9-E74906101359}" dt="2021-09-13T07:15:59.907" v="1561" actId="478"/>
          <ac:picMkLst>
            <pc:docMk/>
            <pc:sldMk cId="115266964" sldId="2218"/>
            <ac:picMk id="44" creationId="{C96D08E1-52FB-4EE3-8BD2-4591CF65C37F}"/>
          </ac:picMkLst>
        </pc:picChg>
        <pc:picChg chg="del">
          <ac:chgData name="Aurelien Domont" userId="6da7715ce44349b3" providerId="LiveId" clId="{2349E0AC-9333-4F13-B2C9-E74906101359}" dt="2021-09-13T07:15:59.907" v="1561" actId="478"/>
          <ac:picMkLst>
            <pc:docMk/>
            <pc:sldMk cId="115266964" sldId="2218"/>
            <ac:picMk id="45" creationId="{F2B09052-0603-42C1-9F3C-9D8E6874D825}"/>
          </ac:picMkLst>
        </pc:picChg>
        <pc:picChg chg="del">
          <ac:chgData name="Aurelien Domont" userId="6da7715ce44349b3" providerId="LiveId" clId="{2349E0AC-9333-4F13-B2C9-E74906101359}" dt="2021-09-13T07:15:59.907" v="1561" actId="478"/>
          <ac:picMkLst>
            <pc:docMk/>
            <pc:sldMk cId="115266964" sldId="2218"/>
            <ac:picMk id="46" creationId="{C0D7A384-2248-43D6-83B5-DDA8B9B1EB18}"/>
          </ac:picMkLst>
        </pc:picChg>
        <pc:picChg chg="del">
          <ac:chgData name="Aurelien Domont" userId="6da7715ce44349b3" providerId="LiveId" clId="{2349E0AC-9333-4F13-B2C9-E74906101359}" dt="2021-09-13T07:15:59.907" v="1561" actId="478"/>
          <ac:picMkLst>
            <pc:docMk/>
            <pc:sldMk cId="115266964" sldId="2218"/>
            <ac:picMk id="47" creationId="{499F935E-0FD7-4BEF-8EDD-7AD5BEDC857D}"/>
          </ac:picMkLst>
        </pc:picChg>
        <pc:picChg chg="del">
          <ac:chgData name="Aurelien Domont" userId="6da7715ce44349b3" providerId="LiveId" clId="{2349E0AC-9333-4F13-B2C9-E74906101359}" dt="2021-09-13T07:15:59.907" v="1561" actId="478"/>
          <ac:picMkLst>
            <pc:docMk/>
            <pc:sldMk cId="115266964" sldId="2218"/>
            <ac:picMk id="49" creationId="{9E29894F-7BE2-4CC1-8A75-318324B0413C}"/>
          </ac:picMkLst>
        </pc:picChg>
      </pc:sldChg>
      <pc:sldChg chg="addSp delSp modSp add del mod">
        <pc:chgData name="Aurelien Domont" userId="6da7715ce44349b3" providerId="LiveId" clId="{2349E0AC-9333-4F13-B2C9-E74906101359}" dt="2022-01-25T06:25:17.233" v="4674" actId="47"/>
        <pc:sldMkLst>
          <pc:docMk/>
          <pc:sldMk cId="421644711" sldId="2219"/>
        </pc:sldMkLst>
        <pc:spChg chg="mod">
          <ac:chgData name="Aurelien Domont" userId="6da7715ce44349b3" providerId="LiveId" clId="{2349E0AC-9333-4F13-B2C9-E74906101359}" dt="2021-09-13T07:20:35.945" v="1723" actId="20577"/>
          <ac:spMkLst>
            <pc:docMk/>
            <pc:sldMk cId="421644711" sldId="2219"/>
            <ac:spMk id="2" creationId="{46B55DDA-1775-480D-A3BD-788B119EF109}"/>
          </ac:spMkLst>
        </pc:spChg>
        <pc:spChg chg="add del mod">
          <ac:chgData name="Aurelien Domont" userId="6da7715ce44349b3" providerId="LiveId" clId="{2349E0AC-9333-4F13-B2C9-E74906101359}" dt="2021-09-13T07:20:43.779" v="1725" actId="478"/>
          <ac:spMkLst>
            <pc:docMk/>
            <pc:sldMk cId="421644711" sldId="2219"/>
            <ac:spMk id="5" creationId="{F8A742EC-037C-4518-B43D-9337DD8C089F}"/>
          </ac:spMkLst>
        </pc:spChg>
        <pc:spChg chg="add mod">
          <ac:chgData name="Aurelien Domont" userId="6da7715ce44349b3" providerId="LiveId" clId="{2349E0AC-9333-4F13-B2C9-E74906101359}" dt="2021-09-13T07:23:13.414" v="1866" actId="20577"/>
          <ac:spMkLst>
            <pc:docMk/>
            <pc:sldMk cId="421644711" sldId="2219"/>
            <ac:spMk id="15" creationId="{22E265B1-FCC7-4867-B9F3-1E859D68044F}"/>
          </ac:spMkLst>
        </pc:spChg>
        <pc:spChg chg="del">
          <ac:chgData name="Aurelien Domont" userId="6da7715ce44349b3" providerId="LiveId" clId="{2349E0AC-9333-4F13-B2C9-E74906101359}" dt="2021-09-13T07:20:42.200" v="1724" actId="478"/>
          <ac:spMkLst>
            <pc:docMk/>
            <pc:sldMk cId="421644711" sldId="2219"/>
            <ac:spMk id="18" creationId="{167BA9C0-26E6-4DEB-8145-88445085F9A5}"/>
          </ac:spMkLst>
        </pc:spChg>
        <pc:spChg chg="mod">
          <ac:chgData name="Aurelien Domont" userId="6da7715ce44349b3" providerId="LiveId" clId="{2349E0AC-9333-4F13-B2C9-E74906101359}" dt="2021-09-13T07:22:08.716" v="1793" actId="1035"/>
          <ac:spMkLst>
            <pc:docMk/>
            <pc:sldMk cId="421644711" sldId="2219"/>
            <ac:spMk id="20" creationId="{26DC7E42-8B51-4503-AE0E-82C18658C1D0}"/>
          </ac:spMkLst>
        </pc:spChg>
        <pc:spChg chg="mod">
          <ac:chgData name="Aurelien Domont" userId="6da7715ce44349b3" providerId="LiveId" clId="{2349E0AC-9333-4F13-B2C9-E74906101359}" dt="2021-09-13T07:22:08.716" v="1793" actId="1035"/>
          <ac:spMkLst>
            <pc:docMk/>
            <pc:sldMk cId="421644711" sldId="2219"/>
            <ac:spMk id="22" creationId="{82908FAC-1BD6-424D-8A71-FD23D12A5A81}"/>
          </ac:spMkLst>
        </pc:spChg>
        <pc:picChg chg="add mod">
          <ac:chgData name="Aurelien Domont" userId="6da7715ce44349b3" providerId="LiveId" clId="{2349E0AC-9333-4F13-B2C9-E74906101359}" dt="2021-09-13T07:19:53.170" v="1607" actId="1076"/>
          <ac:picMkLst>
            <pc:docMk/>
            <pc:sldMk cId="421644711" sldId="2219"/>
            <ac:picMk id="12" creationId="{51EDD3CB-C401-49EA-9364-561D40A8109C}"/>
          </ac:picMkLst>
        </pc:picChg>
        <pc:picChg chg="mod">
          <ac:chgData name="Aurelien Domont" userId="6da7715ce44349b3" providerId="LiveId" clId="{2349E0AC-9333-4F13-B2C9-E74906101359}" dt="2021-09-13T07:22:08.716" v="1793" actId="1035"/>
          <ac:picMkLst>
            <pc:docMk/>
            <pc:sldMk cId="421644711" sldId="2219"/>
            <ac:picMk id="13" creationId="{1E205A37-54F3-4F42-8A21-9820A3290D97}"/>
          </ac:picMkLst>
        </pc:picChg>
        <pc:picChg chg="mod">
          <ac:chgData name="Aurelien Domont" userId="6da7715ce44349b3" providerId="LiveId" clId="{2349E0AC-9333-4F13-B2C9-E74906101359}" dt="2021-09-13T07:22:08.716" v="1793" actId="1035"/>
          <ac:picMkLst>
            <pc:docMk/>
            <pc:sldMk cId="421644711" sldId="2219"/>
            <ac:picMk id="14" creationId="{AC0D815F-FAFE-4181-9097-113C5263552F}"/>
          </ac:picMkLst>
        </pc:picChg>
        <pc:picChg chg="mod">
          <ac:chgData name="Aurelien Domont" userId="6da7715ce44349b3" providerId="LiveId" clId="{2349E0AC-9333-4F13-B2C9-E74906101359}" dt="2021-09-13T07:22:08.716" v="1793" actId="1035"/>
          <ac:picMkLst>
            <pc:docMk/>
            <pc:sldMk cId="421644711" sldId="2219"/>
            <ac:picMk id="23" creationId="{F4C390EC-E739-4D4B-B4EE-5D3B32B659DF}"/>
          </ac:picMkLst>
        </pc:picChg>
        <pc:picChg chg="mod">
          <ac:chgData name="Aurelien Domont" userId="6da7715ce44349b3" providerId="LiveId" clId="{2349E0AC-9333-4F13-B2C9-E74906101359}" dt="2021-09-13T07:22:08.716" v="1793" actId="1035"/>
          <ac:picMkLst>
            <pc:docMk/>
            <pc:sldMk cId="421644711" sldId="2219"/>
            <ac:picMk id="24" creationId="{8CD703EB-47EC-42E2-9927-A44532753981}"/>
          </ac:picMkLst>
        </pc:picChg>
        <pc:picChg chg="del">
          <ac:chgData name="Aurelien Domont" userId="6da7715ce44349b3" providerId="LiveId" clId="{2349E0AC-9333-4F13-B2C9-E74906101359}" dt="2021-09-13T07:19:49.279" v="1605" actId="478"/>
          <ac:picMkLst>
            <pc:docMk/>
            <pc:sldMk cId="421644711" sldId="2219"/>
            <ac:picMk id="26" creationId="{CEA86300-147E-46AA-8FB7-D0BC6CA81CC1}"/>
          </ac:picMkLst>
        </pc:picChg>
      </pc:sldChg>
      <pc:sldChg chg="addSp delSp modSp add mod">
        <pc:chgData name="Aurelien Domont" userId="6da7715ce44349b3" providerId="LiveId" clId="{2349E0AC-9333-4F13-B2C9-E74906101359}" dt="2022-03-16T03:48:31.799" v="5828"/>
        <pc:sldMkLst>
          <pc:docMk/>
          <pc:sldMk cId="3380420903" sldId="2220"/>
        </pc:sldMkLst>
        <pc:spChg chg="del">
          <ac:chgData name="Aurelien Domont" userId="6da7715ce44349b3" providerId="LiveId" clId="{2349E0AC-9333-4F13-B2C9-E74906101359}" dt="2022-01-25T06:18:18.200" v="4603" actId="478"/>
          <ac:spMkLst>
            <pc:docMk/>
            <pc:sldMk cId="3380420903" sldId="2220"/>
            <ac:spMk id="6" creationId="{238F0036-6BC1-440E-B8F1-6711ACC674F0}"/>
          </ac:spMkLst>
        </pc:spChg>
        <pc:spChg chg="del">
          <ac:chgData name="Aurelien Domont" userId="6da7715ce44349b3" providerId="LiveId" clId="{2349E0AC-9333-4F13-B2C9-E74906101359}" dt="2022-01-25T06:18:18.200" v="4603" actId="478"/>
          <ac:spMkLst>
            <pc:docMk/>
            <pc:sldMk cId="3380420903" sldId="2220"/>
            <ac:spMk id="8" creationId="{5AD20283-C610-4E4E-B7FD-0A74829B17D2}"/>
          </ac:spMkLst>
        </pc:spChg>
        <pc:spChg chg="del">
          <ac:chgData name="Aurelien Domont" userId="6da7715ce44349b3" providerId="LiveId" clId="{2349E0AC-9333-4F13-B2C9-E74906101359}" dt="2022-01-25T06:18:18.200" v="4603" actId="478"/>
          <ac:spMkLst>
            <pc:docMk/>
            <pc:sldMk cId="3380420903" sldId="2220"/>
            <ac:spMk id="9" creationId="{9916BF81-D831-4945-8A7F-F1BBF3BE00F7}"/>
          </ac:spMkLst>
        </pc:spChg>
        <pc:spChg chg="del">
          <ac:chgData name="Aurelien Domont" userId="6da7715ce44349b3" providerId="LiveId" clId="{2349E0AC-9333-4F13-B2C9-E74906101359}" dt="2022-01-25T06:18:18.200" v="4603" actId="478"/>
          <ac:spMkLst>
            <pc:docMk/>
            <pc:sldMk cId="3380420903" sldId="2220"/>
            <ac:spMk id="10" creationId="{B1C88FC8-A399-4036-A50C-88B22BCA06AE}"/>
          </ac:spMkLst>
        </pc:spChg>
        <pc:spChg chg="del">
          <ac:chgData name="Aurelien Domont" userId="6da7715ce44349b3" providerId="LiveId" clId="{2349E0AC-9333-4F13-B2C9-E74906101359}" dt="2022-01-25T06:18:18.200" v="4603" actId="478"/>
          <ac:spMkLst>
            <pc:docMk/>
            <pc:sldMk cId="3380420903" sldId="2220"/>
            <ac:spMk id="12" creationId="{669CF01D-E2E3-4BEE-B623-8324947E2082}"/>
          </ac:spMkLst>
        </pc:spChg>
        <pc:spChg chg="mod">
          <ac:chgData name="Aurelien Domont" userId="6da7715ce44349b3" providerId="LiveId" clId="{2349E0AC-9333-4F13-B2C9-E74906101359}" dt="2022-01-25T06:17:48.987" v="4602" actId="20577"/>
          <ac:spMkLst>
            <pc:docMk/>
            <pc:sldMk cId="3380420903" sldId="2220"/>
            <ac:spMk id="16" creationId="{6C2BB713-9637-4B9B-938F-E9768876782A}"/>
          </ac:spMkLst>
        </pc:spChg>
        <pc:spChg chg="del">
          <ac:chgData name="Aurelien Domont" userId="6da7715ce44349b3" providerId="LiveId" clId="{2349E0AC-9333-4F13-B2C9-E74906101359}" dt="2022-01-25T06:18:18.200" v="4603" actId="478"/>
          <ac:spMkLst>
            <pc:docMk/>
            <pc:sldMk cId="3380420903" sldId="2220"/>
            <ac:spMk id="19" creationId="{40F450C2-7100-4D0F-91E4-597A71B103E4}"/>
          </ac:spMkLst>
        </pc:spChg>
        <pc:spChg chg="del">
          <ac:chgData name="Aurelien Domont" userId="6da7715ce44349b3" providerId="LiveId" clId="{2349E0AC-9333-4F13-B2C9-E74906101359}" dt="2022-01-25T06:18:18.200" v="4603" actId="478"/>
          <ac:spMkLst>
            <pc:docMk/>
            <pc:sldMk cId="3380420903" sldId="2220"/>
            <ac:spMk id="20" creationId="{0C20E171-2CDF-4CC5-9794-E43D383FF666}"/>
          </ac:spMkLst>
        </pc:spChg>
        <pc:spChg chg="del">
          <ac:chgData name="Aurelien Domont" userId="6da7715ce44349b3" providerId="LiveId" clId="{2349E0AC-9333-4F13-B2C9-E74906101359}" dt="2022-01-25T06:18:18.200" v="4603" actId="478"/>
          <ac:spMkLst>
            <pc:docMk/>
            <pc:sldMk cId="3380420903" sldId="2220"/>
            <ac:spMk id="21" creationId="{071A8FDB-0B99-4D72-8433-F20F1989A3E1}"/>
          </ac:spMkLst>
        </pc:spChg>
        <pc:spChg chg="add mod">
          <ac:chgData name="Aurelien Domont" userId="6da7715ce44349b3" providerId="LiveId" clId="{2349E0AC-9333-4F13-B2C9-E74906101359}" dt="2022-01-25T06:20:24.039" v="4614" actId="108"/>
          <ac:spMkLst>
            <pc:docMk/>
            <pc:sldMk cId="3380420903" sldId="2220"/>
            <ac:spMk id="22" creationId="{AE848D4C-499A-4E3C-8023-2C1815717D50}"/>
          </ac:spMkLst>
        </pc:spChg>
        <pc:spChg chg="add mod">
          <ac:chgData name="Aurelien Domont" userId="6da7715ce44349b3" providerId="LiveId" clId="{2349E0AC-9333-4F13-B2C9-E74906101359}" dt="2022-01-25T06:20:24.483" v="4615" actId="108"/>
          <ac:spMkLst>
            <pc:docMk/>
            <pc:sldMk cId="3380420903" sldId="2220"/>
            <ac:spMk id="23" creationId="{6BD1C429-41B0-4D68-AA99-D012E215905D}"/>
          </ac:spMkLst>
        </pc:spChg>
        <pc:spChg chg="add mod">
          <ac:chgData name="Aurelien Domont" userId="6da7715ce44349b3" providerId="LiveId" clId="{2349E0AC-9333-4F13-B2C9-E74906101359}" dt="2022-01-25T06:20:24.916" v="4616" actId="108"/>
          <ac:spMkLst>
            <pc:docMk/>
            <pc:sldMk cId="3380420903" sldId="2220"/>
            <ac:spMk id="24" creationId="{98F24423-B40E-4081-ABF4-4FE91957CA82}"/>
          </ac:spMkLst>
        </pc:spChg>
        <pc:spChg chg="add mod">
          <ac:chgData name="Aurelien Domont" userId="6da7715ce44349b3" providerId="LiveId" clId="{2349E0AC-9333-4F13-B2C9-E74906101359}" dt="2022-01-25T06:20:23.610" v="4613" actId="108"/>
          <ac:spMkLst>
            <pc:docMk/>
            <pc:sldMk cId="3380420903" sldId="2220"/>
            <ac:spMk id="25" creationId="{006708C9-4BB7-4714-8F45-59AC4894470A}"/>
          </ac:spMkLst>
        </pc:spChg>
        <pc:spChg chg="add mod">
          <ac:chgData name="Aurelien Domont" userId="6da7715ce44349b3" providerId="LiveId" clId="{2349E0AC-9333-4F13-B2C9-E74906101359}" dt="2022-01-25T06:20:25.446" v="4617" actId="108"/>
          <ac:spMkLst>
            <pc:docMk/>
            <pc:sldMk cId="3380420903" sldId="2220"/>
            <ac:spMk id="27" creationId="{AFC51878-350E-4BE2-B826-72EF80F67541}"/>
          </ac:spMkLst>
        </pc:spChg>
        <pc:spChg chg="add mod">
          <ac:chgData name="Aurelien Domont" userId="6da7715ce44349b3" providerId="LiveId" clId="{2349E0AC-9333-4F13-B2C9-E74906101359}" dt="2022-01-25T06:20:25.949" v="4618" actId="108"/>
          <ac:spMkLst>
            <pc:docMk/>
            <pc:sldMk cId="3380420903" sldId="2220"/>
            <ac:spMk id="32" creationId="{A82F6AC4-371D-4380-8CC9-B0F4B7EAD285}"/>
          </ac:spMkLst>
        </pc:spChg>
        <pc:spChg chg="add mod">
          <ac:chgData name="Aurelien Domont" userId="6da7715ce44349b3" providerId="LiveId" clId="{2349E0AC-9333-4F13-B2C9-E74906101359}" dt="2022-01-25T06:20:02.776" v="4604"/>
          <ac:spMkLst>
            <pc:docMk/>
            <pc:sldMk cId="3380420903" sldId="2220"/>
            <ac:spMk id="34" creationId="{08F25008-D600-4B9E-8519-5DFA5514D018}"/>
          </ac:spMkLst>
        </pc:spChg>
        <pc:spChg chg="add mod">
          <ac:chgData name="Aurelien Domont" userId="6da7715ce44349b3" providerId="LiveId" clId="{2349E0AC-9333-4F13-B2C9-E74906101359}" dt="2022-01-25T06:20:02.776" v="4604"/>
          <ac:spMkLst>
            <pc:docMk/>
            <pc:sldMk cId="3380420903" sldId="2220"/>
            <ac:spMk id="36" creationId="{188F7C6F-5B55-4442-B566-FD31B54D3AB7}"/>
          </ac:spMkLst>
        </pc:spChg>
        <pc:spChg chg="add mod">
          <ac:chgData name="Aurelien Domont" userId="6da7715ce44349b3" providerId="LiveId" clId="{2349E0AC-9333-4F13-B2C9-E74906101359}" dt="2022-01-25T06:20:14.878" v="4607" actId="948"/>
          <ac:spMkLst>
            <pc:docMk/>
            <pc:sldMk cId="3380420903" sldId="2220"/>
            <ac:spMk id="38" creationId="{79B2B9CD-4ED7-4514-9BEA-91F8C4BB12D4}"/>
          </ac:spMkLst>
        </pc:spChg>
        <pc:spChg chg="add mod">
          <ac:chgData name="Aurelien Domont" userId="6da7715ce44349b3" providerId="LiveId" clId="{2349E0AC-9333-4F13-B2C9-E74906101359}" dt="2022-01-25T06:20:18.537" v="4608" actId="108"/>
          <ac:spMkLst>
            <pc:docMk/>
            <pc:sldMk cId="3380420903" sldId="2220"/>
            <ac:spMk id="40" creationId="{F29812F4-E566-4737-A379-37BB231A4493}"/>
          </ac:spMkLst>
        </pc:spChg>
        <pc:spChg chg="add mod">
          <ac:chgData name="Aurelien Domont" userId="6da7715ce44349b3" providerId="LiveId" clId="{2349E0AC-9333-4F13-B2C9-E74906101359}" dt="2022-03-16T03:48:31.799" v="5828"/>
          <ac:spMkLst>
            <pc:docMk/>
            <pc:sldMk cId="3380420903" sldId="2220"/>
            <ac:spMk id="42" creationId="{AD041C58-43B2-4732-88CF-3DCD3D0FAC6F}"/>
          </ac:spMkLst>
        </pc:spChg>
        <pc:spChg chg="add mod">
          <ac:chgData name="Aurelien Domont" userId="6da7715ce44349b3" providerId="LiveId" clId="{2349E0AC-9333-4F13-B2C9-E74906101359}" dt="2022-01-31T23:52:23.061" v="5680" actId="20577"/>
          <ac:spMkLst>
            <pc:docMk/>
            <pc:sldMk cId="3380420903" sldId="2220"/>
            <ac:spMk id="44" creationId="{1475318D-13A7-4B22-9F4C-7693A6702C38}"/>
          </ac:spMkLst>
        </pc:spChg>
        <pc:spChg chg="add mod">
          <ac:chgData name="Aurelien Domont" userId="6da7715ce44349b3" providerId="LiveId" clId="{2349E0AC-9333-4F13-B2C9-E74906101359}" dt="2022-01-25T06:20:19.674" v="4611" actId="108"/>
          <ac:spMkLst>
            <pc:docMk/>
            <pc:sldMk cId="3380420903" sldId="2220"/>
            <ac:spMk id="46" creationId="{82F6973A-4C5A-4779-B850-1C6D63EAC1B7}"/>
          </ac:spMkLst>
        </pc:spChg>
        <pc:spChg chg="add mod">
          <ac:chgData name="Aurelien Domont" userId="6da7715ce44349b3" providerId="LiveId" clId="{2349E0AC-9333-4F13-B2C9-E74906101359}" dt="2022-01-25T06:20:20.250" v="4612" actId="108"/>
          <ac:spMkLst>
            <pc:docMk/>
            <pc:sldMk cId="3380420903" sldId="2220"/>
            <ac:spMk id="48" creationId="{C506E85F-A3A4-4FC0-AD5A-3C2EFDF2C738}"/>
          </ac:spMkLst>
        </pc:spChg>
        <pc:picChg chg="del">
          <ac:chgData name="Aurelien Domont" userId="6da7715ce44349b3" providerId="LiveId" clId="{2349E0AC-9333-4F13-B2C9-E74906101359}" dt="2022-01-25T06:18:18.200" v="4603" actId="478"/>
          <ac:picMkLst>
            <pc:docMk/>
            <pc:sldMk cId="3380420903" sldId="2220"/>
            <ac:picMk id="3" creationId="{597D2EEF-5A3E-4D2E-B870-9D84D816AD29}"/>
          </ac:picMkLst>
        </pc:picChg>
        <pc:picChg chg="del">
          <ac:chgData name="Aurelien Domont" userId="6da7715ce44349b3" providerId="LiveId" clId="{2349E0AC-9333-4F13-B2C9-E74906101359}" dt="2022-01-25T06:18:18.200" v="4603" actId="478"/>
          <ac:picMkLst>
            <pc:docMk/>
            <pc:sldMk cId="3380420903" sldId="2220"/>
            <ac:picMk id="11" creationId="{EC760C83-E385-463D-9CCD-28497A47952E}"/>
          </ac:picMkLst>
        </pc:picChg>
        <pc:picChg chg="del">
          <ac:chgData name="Aurelien Domont" userId="6da7715ce44349b3" providerId="LiveId" clId="{2349E0AC-9333-4F13-B2C9-E74906101359}" dt="2022-01-25T06:18:18.200" v="4603" actId="478"/>
          <ac:picMkLst>
            <pc:docMk/>
            <pc:sldMk cId="3380420903" sldId="2220"/>
            <ac:picMk id="14" creationId="{95D2287B-DEFC-4271-97FD-F9656371E0A0}"/>
          </ac:picMkLst>
        </pc:picChg>
        <pc:picChg chg="del">
          <ac:chgData name="Aurelien Domont" userId="6da7715ce44349b3" providerId="LiveId" clId="{2349E0AC-9333-4F13-B2C9-E74906101359}" dt="2022-01-25T06:18:18.200" v="4603" actId="478"/>
          <ac:picMkLst>
            <pc:docMk/>
            <pc:sldMk cId="3380420903" sldId="2220"/>
            <ac:picMk id="15" creationId="{398F2540-B59B-4D5F-9697-D1EBA87669D5}"/>
          </ac:picMkLst>
        </pc:picChg>
        <pc:picChg chg="del">
          <ac:chgData name="Aurelien Domont" userId="6da7715ce44349b3" providerId="LiveId" clId="{2349E0AC-9333-4F13-B2C9-E74906101359}" dt="2022-01-25T06:18:18.200" v="4603" actId="478"/>
          <ac:picMkLst>
            <pc:docMk/>
            <pc:sldMk cId="3380420903" sldId="2220"/>
            <ac:picMk id="17" creationId="{09696FBC-6BC1-492A-B2D9-00F4424B947F}"/>
          </ac:picMkLst>
        </pc:picChg>
        <pc:picChg chg="del">
          <ac:chgData name="Aurelien Domont" userId="6da7715ce44349b3" providerId="LiveId" clId="{2349E0AC-9333-4F13-B2C9-E74906101359}" dt="2022-01-25T06:18:18.200" v="4603" actId="478"/>
          <ac:picMkLst>
            <pc:docMk/>
            <pc:sldMk cId="3380420903" sldId="2220"/>
            <ac:picMk id="18" creationId="{2CA1C184-9BAE-4ADD-BE0C-74D76F74D94E}"/>
          </ac:picMkLst>
        </pc:picChg>
        <pc:picChg chg="add mod">
          <ac:chgData name="Aurelien Domont" userId="6da7715ce44349b3" providerId="LiveId" clId="{2349E0AC-9333-4F13-B2C9-E74906101359}" dt="2022-02-01T00:31:33.251" v="5819" actId="108"/>
          <ac:picMkLst>
            <pc:docMk/>
            <pc:sldMk cId="3380420903" sldId="2220"/>
            <ac:picMk id="26" creationId="{480F622F-3F6B-4046-99C1-CE0A35AD8D13}"/>
          </ac:picMkLst>
        </pc:picChg>
        <pc:picChg chg="add mod">
          <ac:chgData name="Aurelien Domont" userId="6da7715ce44349b3" providerId="LiveId" clId="{2349E0AC-9333-4F13-B2C9-E74906101359}" dt="2022-02-01T00:31:34.642" v="5821" actId="108"/>
          <ac:picMkLst>
            <pc:docMk/>
            <pc:sldMk cId="3380420903" sldId="2220"/>
            <ac:picMk id="28" creationId="{ED4600C4-B1B8-4C97-88D8-CE6BCE076C11}"/>
          </ac:picMkLst>
        </pc:picChg>
        <pc:picChg chg="add mod">
          <ac:chgData name="Aurelien Domont" userId="6da7715ce44349b3" providerId="LiveId" clId="{2349E0AC-9333-4F13-B2C9-E74906101359}" dt="2022-02-01T00:31:33.923" v="5820" actId="108"/>
          <ac:picMkLst>
            <pc:docMk/>
            <pc:sldMk cId="3380420903" sldId="2220"/>
            <ac:picMk id="29" creationId="{A55ADD63-6C5E-46D8-A005-BB171170D36A}"/>
          </ac:picMkLst>
        </pc:picChg>
        <pc:picChg chg="add mod">
          <ac:chgData name="Aurelien Domont" userId="6da7715ce44349b3" providerId="LiveId" clId="{2349E0AC-9333-4F13-B2C9-E74906101359}" dt="2022-02-01T00:31:35.470" v="5822" actId="108"/>
          <ac:picMkLst>
            <pc:docMk/>
            <pc:sldMk cId="3380420903" sldId="2220"/>
            <ac:picMk id="30" creationId="{8F331786-3E4F-48E9-BA99-73CEEFB58E1B}"/>
          </ac:picMkLst>
        </pc:picChg>
        <pc:picChg chg="add mod">
          <ac:chgData name="Aurelien Domont" userId="6da7715ce44349b3" providerId="LiveId" clId="{2349E0AC-9333-4F13-B2C9-E74906101359}" dt="2022-02-01T00:31:35.955" v="5823" actId="108"/>
          <ac:picMkLst>
            <pc:docMk/>
            <pc:sldMk cId="3380420903" sldId="2220"/>
            <ac:picMk id="31" creationId="{1C1D6076-F188-4DC6-BECE-17F9B524B864}"/>
          </ac:picMkLst>
        </pc:picChg>
        <pc:picChg chg="add mod">
          <ac:chgData name="Aurelien Domont" userId="6da7715ce44349b3" providerId="LiveId" clId="{2349E0AC-9333-4F13-B2C9-E74906101359}" dt="2022-02-01T00:31:36.526" v="5824" actId="108"/>
          <ac:picMkLst>
            <pc:docMk/>
            <pc:sldMk cId="3380420903" sldId="2220"/>
            <ac:picMk id="33" creationId="{6430DE0B-77E7-4283-B0FE-286845D52733}"/>
          </ac:picMkLst>
        </pc:picChg>
        <pc:picChg chg="add mod">
          <ac:chgData name="Aurelien Domont" userId="6da7715ce44349b3" providerId="LiveId" clId="{2349E0AC-9333-4F13-B2C9-E74906101359}" dt="2022-01-25T06:20:02.776" v="4604"/>
          <ac:picMkLst>
            <pc:docMk/>
            <pc:sldMk cId="3380420903" sldId="2220"/>
            <ac:picMk id="35" creationId="{8DCA95C6-903E-454C-AEBD-792A1AE987B6}"/>
          </ac:picMkLst>
        </pc:picChg>
        <pc:cxnChg chg="add mod">
          <ac:chgData name="Aurelien Domont" userId="6da7715ce44349b3" providerId="LiveId" clId="{2349E0AC-9333-4F13-B2C9-E74906101359}" dt="2022-01-25T06:20:02.776" v="4604"/>
          <ac:cxnSpMkLst>
            <pc:docMk/>
            <pc:sldMk cId="3380420903" sldId="2220"/>
            <ac:cxnSpMk id="37" creationId="{E4418AF7-9832-431F-A7EA-673E6A20EFA8}"/>
          </ac:cxnSpMkLst>
        </pc:cxnChg>
        <pc:cxnChg chg="add mod">
          <ac:chgData name="Aurelien Domont" userId="6da7715ce44349b3" providerId="LiveId" clId="{2349E0AC-9333-4F13-B2C9-E74906101359}" dt="2022-01-25T06:20:02.776" v="4604"/>
          <ac:cxnSpMkLst>
            <pc:docMk/>
            <pc:sldMk cId="3380420903" sldId="2220"/>
            <ac:cxnSpMk id="39" creationId="{F2825B2A-E66A-4474-879C-22F668F8B872}"/>
          </ac:cxnSpMkLst>
        </pc:cxnChg>
        <pc:cxnChg chg="add mod">
          <ac:chgData name="Aurelien Domont" userId="6da7715ce44349b3" providerId="LiveId" clId="{2349E0AC-9333-4F13-B2C9-E74906101359}" dt="2022-01-25T06:20:02.776" v="4604"/>
          <ac:cxnSpMkLst>
            <pc:docMk/>
            <pc:sldMk cId="3380420903" sldId="2220"/>
            <ac:cxnSpMk id="41" creationId="{E7C548D5-5700-4B80-9648-0700EFFA1F66}"/>
          </ac:cxnSpMkLst>
        </pc:cxnChg>
        <pc:cxnChg chg="add mod">
          <ac:chgData name="Aurelien Domont" userId="6da7715ce44349b3" providerId="LiveId" clId="{2349E0AC-9333-4F13-B2C9-E74906101359}" dt="2022-01-25T06:20:02.776" v="4604"/>
          <ac:cxnSpMkLst>
            <pc:docMk/>
            <pc:sldMk cId="3380420903" sldId="2220"/>
            <ac:cxnSpMk id="43" creationId="{1E73A29A-5120-4B04-84FC-100169DF83A4}"/>
          </ac:cxnSpMkLst>
        </pc:cxnChg>
        <pc:cxnChg chg="add mod">
          <ac:chgData name="Aurelien Domont" userId="6da7715ce44349b3" providerId="LiveId" clId="{2349E0AC-9333-4F13-B2C9-E74906101359}" dt="2022-01-25T06:20:02.776" v="4604"/>
          <ac:cxnSpMkLst>
            <pc:docMk/>
            <pc:sldMk cId="3380420903" sldId="2220"/>
            <ac:cxnSpMk id="45" creationId="{CA1A1706-3119-4C9B-A2FE-8BB0621CF0FF}"/>
          </ac:cxnSpMkLst>
        </pc:cxnChg>
        <pc:cxnChg chg="add mod">
          <ac:chgData name="Aurelien Domont" userId="6da7715ce44349b3" providerId="LiveId" clId="{2349E0AC-9333-4F13-B2C9-E74906101359}" dt="2022-01-25T06:20:02.776" v="4604"/>
          <ac:cxnSpMkLst>
            <pc:docMk/>
            <pc:sldMk cId="3380420903" sldId="2220"/>
            <ac:cxnSpMk id="47" creationId="{27AD92F2-C43F-4DFA-941C-F22828F0E998}"/>
          </ac:cxnSpMkLst>
        </pc:cxnChg>
      </pc:sldChg>
      <pc:sldChg chg="add del">
        <pc:chgData name="Aurelien Domont" userId="6da7715ce44349b3" providerId="LiveId" clId="{2349E0AC-9333-4F13-B2C9-E74906101359}" dt="2022-12-07T03:09:01.347" v="5861" actId="47"/>
        <pc:sldMkLst>
          <pc:docMk/>
          <pc:sldMk cId="2721199826" sldId="2239"/>
        </pc:sldMkLst>
      </pc:sldChg>
      <pc:sldChg chg="add">
        <pc:chgData name="Aurelien Domont" userId="6da7715ce44349b3" providerId="LiveId" clId="{2349E0AC-9333-4F13-B2C9-E74906101359}" dt="2022-12-07T03:09:02.623" v="5862"/>
        <pc:sldMkLst>
          <pc:docMk/>
          <pc:sldMk cId="1534399825" sldId="2240"/>
        </pc:sldMkLst>
      </pc:sldChg>
      <pc:sldChg chg="add">
        <pc:chgData name="Aurelien Domont" userId="6da7715ce44349b3" providerId="LiveId" clId="{2349E0AC-9333-4F13-B2C9-E74906101359}" dt="2022-01-25T06:38:03.014" v="4714"/>
        <pc:sldMkLst>
          <pc:docMk/>
          <pc:sldMk cId="1151422424" sldId="2269"/>
        </pc:sldMkLst>
      </pc:sldChg>
      <pc:sldChg chg="modSp add mod">
        <pc:chgData name="Aurelien Domont" userId="6da7715ce44349b3" providerId="LiveId" clId="{2349E0AC-9333-4F13-B2C9-E74906101359}" dt="2022-01-18T05:41:36.095" v="4183" actId="20577"/>
        <pc:sldMkLst>
          <pc:docMk/>
          <pc:sldMk cId="1763023598" sldId="2303"/>
        </pc:sldMkLst>
        <pc:spChg chg="mod">
          <ac:chgData name="Aurelien Domont" userId="6da7715ce44349b3" providerId="LiveId" clId="{2349E0AC-9333-4F13-B2C9-E74906101359}" dt="2022-01-18T05:41:36.095" v="4183" actId="20577"/>
          <ac:spMkLst>
            <pc:docMk/>
            <pc:sldMk cId="1763023598" sldId="2303"/>
            <ac:spMk id="6" creationId="{73F8416A-AC64-451F-8B00-C47D484A1B81}"/>
          </ac:spMkLst>
        </pc:spChg>
        <pc:spChg chg="mod">
          <ac:chgData name="Aurelien Domont" userId="6da7715ce44349b3" providerId="LiveId" clId="{2349E0AC-9333-4F13-B2C9-E74906101359}" dt="2022-01-18T05:34:24.076" v="4110" actId="20577"/>
          <ac:spMkLst>
            <pc:docMk/>
            <pc:sldMk cId="1763023598" sldId="2303"/>
            <ac:spMk id="16" creationId="{6C2BB713-9637-4B9B-938F-E9768876782A}"/>
          </ac:spMkLst>
        </pc:spChg>
      </pc:sldChg>
      <pc:sldChg chg="modSp add del mod">
        <pc:chgData name="Aurelien Domont" userId="6da7715ce44349b3" providerId="LiveId" clId="{2349E0AC-9333-4F13-B2C9-E74906101359}" dt="2022-01-25T06:16:10.983" v="4599" actId="47"/>
        <pc:sldMkLst>
          <pc:docMk/>
          <pc:sldMk cId="2905568552" sldId="2304"/>
        </pc:sldMkLst>
        <pc:spChg chg="mod">
          <ac:chgData name="Aurelien Domont" userId="6da7715ce44349b3" providerId="LiveId" clId="{2349E0AC-9333-4F13-B2C9-E74906101359}" dt="2022-01-18T05:44:40.479" v="4304" actId="20577"/>
          <ac:spMkLst>
            <pc:docMk/>
            <pc:sldMk cId="2905568552" sldId="2304"/>
            <ac:spMk id="6" creationId="{73F8416A-AC64-451F-8B00-C47D484A1B81}"/>
          </ac:spMkLst>
        </pc:spChg>
        <pc:spChg chg="mod">
          <ac:chgData name="Aurelien Domont" userId="6da7715ce44349b3" providerId="LiveId" clId="{2349E0AC-9333-4F13-B2C9-E74906101359}" dt="2022-01-18T05:43:57.606" v="4286" actId="20577"/>
          <ac:spMkLst>
            <pc:docMk/>
            <pc:sldMk cId="2905568552" sldId="2304"/>
            <ac:spMk id="16" creationId="{6C2BB713-9637-4B9B-938F-E9768876782A}"/>
          </ac:spMkLst>
        </pc:spChg>
      </pc:sldChg>
      <pc:sldChg chg="modSp add mod">
        <pc:chgData name="Aurelien Domont" userId="6da7715ce44349b3" providerId="LiveId" clId="{2349E0AC-9333-4F13-B2C9-E74906101359}" dt="2022-03-16T03:47:16.331" v="5825"/>
        <pc:sldMkLst>
          <pc:docMk/>
          <pc:sldMk cId="4060139227" sldId="2305"/>
        </pc:sldMkLst>
        <pc:spChg chg="mod">
          <ac:chgData name="Aurelien Domont" userId="6da7715ce44349b3" providerId="LiveId" clId="{2349E0AC-9333-4F13-B2C9-E74906101359}" dt="2022-03-16T03:47:16.331" v="5825"/>
          <ac:spMkLst>
            <pc:docMk/>
            <pc:sldMk cId="4060139227" sldId="2305"/>
            <ac:spMk id="6" creationId="{73F8416A-AC64-451F-8B00-C47D484A1B81}"/>
          </ac:spMkLst>
        </pc:spChg>
        <pc:spChg chg="mod">
          <ac:chgData name="Aurelien Domont" userId="6da7715ce44349b3" providerId="LiveId" clId="{2349E0AC-9333-4F13-B2C9-E74906101359}" dt="2022-01-18T05:45:20.216" v="4322" actId="20577"/>
          <ac:spMkLst>
            <pc:docMk/>
            <pc:sldMk cId="4060139227" sldId="2305"/>
            <ac:spMk id="16" creationId="{6C2BB713-9637-4B9B-938F-E9768876782A}"/>
          </ac:spMkLst>
        </pc:spChg>
      </pc:sldChg>
      <pc:sldChg chg="addSp delSp modSp add mod">
        <pc:chgData name="Aurelien Domont" userId="6da7715ce44349b3" providerId="LiveId" clId="{2349E0AC-9333-4F13-B2C9-E74906101359}" dt="2022-01-18T05:56:14.738" v="4531" actId="207"/>
        <pc:sldMkLst>
          <pc:docMk/>
          <pc:sldMk cId="2561262077" sldId="2306"/>
        </pc:sldMkLst>
        <pc:spChg chg="mod">
          <ac:chgData name="Aurelien Domont" userId="6da7715ce44349b3" providerId="LiveId" clId="{2349E0AC-9333-4F13-B2C9-E74906101359}" dt="2022-01-18T05:56:14.738" v="4531" actId="207"/>
          <ac:spMkLst>
            <pc:docMk/>
            <pc:sldMk cId="2561262077" sldId="2306"/>
            <ac:spMk id="3" creationId="{CE2529A3-BA97-486F-9E02-8DFAAA7D8D38}"/>
          </ac:spMkLst>
        </pc:spChg>
        <pc:spChg chg="del mod">
          <ac:chgData name="Aurelien Domont" userId="6da7715ce44349b3" providerId="LiveId" clId="{2349E0AC-9333-4F13-B2C9-E74906101359}" dt="2022-01-18T05:49:18.490" v="4381" actId="478"/>
          <ac:spMkLst>
            <pc:docMk/>
            <pc:sldMk cId="2561262077" sldId="2306"/>
            <ac:spMk id="6" creationId="{73F8416A-AC64-451F-8B00-C47D484A1B81}"/>
          </ac:spMkLst>
        </pc:spChg>
        <pc:spChg chg="add mod">
          <ac:chgData name="Aurelien Domont" userId="6da7715ce44349b3" providerId="LiveId" clId="{2349E0AC-9333-4F13-B2C9-E74906101359}" dt="2022-01-18T05:54:07.896" v="4516" actId="554"/>
          <ac:spMkLst>
            <pc:docMk/>
            <pc:sldMk cId="2561262077" sldId="2306"/>
            <ac:spMk id="7" creationId="{6F97B87A-9740-43C6-B05D-8721DF4C5B33}"/>
          </ac:spMkLst>
        </pc:spChg>
        <pc:spChg chg="add del mod">
          <ac:chgData name="Aurelien Domont" userId="6da7715ce44349b3" providerId="LiveId" clId="{2349E0AC-9333-4F13-B2C9-E74906101359}" dt="2022-01-18T05:49:29.155" v="4383" actId="478"/>
          <ac:spMkLst>
            <pc:docMk/>
            <pc:sldMk cId="2561262077" sldId="2306"/>
            <ac:spMk id="8" creationId="{2D317AB2-51B8-45E5-BDF0-97B07442C1BE}"/>
          </ac:spMkLst>
        </pc:spChg>
        <pc:spChg chg="add mod">
          <ac:chgData name="Aurelien Domont" userId="6da7715ce44349b3" providerId="LiveId" clId="{2349E0AC-9333-4F13-B2C9-E74906101359}" dt="2022-01-18T05:54:36.849" v="4522" actId="207"/>
          <ac:spMkLst>
            <pc:docMk/>
            <pc:sldMk cId="2561262077" sldId="2306"/>
            <ac:spMk id="9" creationId="{0BB022C3-13D4-4262-A2A1-C38A84ED6561}"/>
          </ac:spMkLst>
        </pc:spChg>
        <pc:spChg chg="add del mod">
          <ac:chgData name="Aurelien Domont" userId="6da7715ce44349b3" providerId="LiveId" clId="{2349E0AC-9333-4F13-B2C9-E74906101359}" dt="2022-01-18T05:49:29.155" v="4383" actId="478"/>
          <ac:spMkLst>
            <pc:docMk/>
            <pc:sldMk cId="2561262077" sldId="2306"/>
            <ac:spMk id="10" creationId="{F63910F9-00E2-4389-9CB0-E32D641257EC}"/>
          </ac:spMkLst>
        </pc:spChg>
        <pc:spChg chg="add del mod">
          <ac:chgData name="Aurelien Domont" userId="6da7715ce44349b3" providerId="LiveId" clId="{2349E0AC-9333-4F13-B2C9-E74906101359}" dt="2022-01-18T05:49:29.155" v="4383" actId="478"/>
          <ac:spMkLst>
            <pc:docMk/>
            <pc:sldMk cId="2561262077" sldId="2306"/>
            <ac:spMk id="11" creationId="{2F0E74C1-27BE-4433-B72F-3E5296CBC2D6}"/>
          </ac:spMkLst>
        </pc:spChg>
        <pc:spChg chg="add del mod">
          <ac:chgData name="Aurelien Domont" userId="6da7715ce44349b3" providerId="LiveId" clId="{2349E0AC-9333-4F13-B2C9-E74906101359}" dt="2022-01-18T05:49:29.155" v="4383" actId="478"/>
          <ac:spMkLst>
            <pc:docMk/>
            <pc:sldMk cId="2561262077" sldId="2306"/>
            <ac:spMk id="12" creationId="{5C726E6C-798B-4E25-96B1-B9298211F78A}"/>
          </ac:spMkLst>
        </pc:spChg>
        <pc:spChg chg="add mod">
          <ac:chgData name="Aurelien Domont" userId="6da7715ce44349b3" providerId="LiveId" clId="{2349E0AC-9333-4F13-B2C9-E74906101359}" dt="2022-01-18T05:54:12.079" v="4517" actId="554"/>
          <ac:spMkLst>
            <pc:docMk/>
            <pc:sldMk cId="2561262077" sldId="2306"/>
            <ac:spMk id="14" creationId="{A8F21DEC-F676-4583-AF1E-7090BC989E8C}"/>
          </ac:spMkLst>
        </pc:spChg>
        <pc:spChg chg="add mod">
          <ac:chgData name="Aurelien Domont" userId="6da7715ce44349b3" providerId="LiveId" clId="{2349E0AC-9333-4F13-B2C9-E74906101359}" dt="2022-01-18T05:54:36.849" v="4522" actId="207"/>
          <ac:spMkLst>
            <pc:docMk/>
            <pc:sldMk cId="2561262077" sldId="2306"/>
            <ac:spMk id="15" creationId="{D222285A-76EB-477A-BF2E-C2B3A0E040C4}"/>
          </ac:spMkLst>
        </pc:spChg>
        <pc:spChg chg="mod">
          <ac:chgData name="Aurelien Domont" userId="6da7715ce44349b3" providerId="LiveId" clId="{2349E0AC-9333-4F13-B2C9-E74906101359}" dt="2022-01-18T05:47:54.436" v="4375" actId="20577"/>
          <ac:spMkLst>
            <pc:docMk/>
            <pc:sldMk cId="2561262077" sldId="2306"/>
            <ac:spMk id="16" creationId="{6C2BB713-9637-4B9B-938F-E9768876782A}"/>
          </ac:spMkLst>
        </pc:spChg>
        <pc:spChg chg="add mod">
          <ac:chgData name="Aurelien Domont" userId="6da7715ce44349b3" providerId="LiveId" clId="{2349E0AC-9333-4F13-B2C9-E74906101359}" dt="2022-01-18T05:54:15.578" v="4518" actId="554"/>
          <ac:spMkLst>
            <pc:docMk/>
            <pc:sldMk cId="2561262077" sldId="2306"/>
            <ac:spMk id="17" creationId="{28B54E9C-D6A1-4D1A-B563-684331199C2D}"/>
          </ac:spMkLst>
        </pc:spChg>
        <pc:spChg chg="add mod">
          <ac:chgData name="Aurelien Domont" userId="6da7715ce44349b3" providerId="LiveId" clId="{2349E0AC-9333-4F13-B2C9-E74906101359}" dt="2022-01-18T05:54:36.849" v="4522" actId="207"/>
          <ac:spMkLst>
            <pc:docMk/>
            <pc:sldMk cId="2561262077" sldId="2306"/>
            <ac:spMk id="18" creationId="{6A8C151B-623C-485F-9716-14EDF3CA905D}"/>
          </ac:spMkLst>
        </pc:spChg>
        <pc:spChg chg="add mod">
          <ac:chgData name="Aurelien Domont" userId="6da7715ce44349b3" providerId="LiveId" clId="{2349E0AC-9333-4F13-B2C9-E74906101359}" dt="2022-01-18T05:54:19.314" v="4519" actId="554"/>
          <ac:spMkLst>
            <pc:docMk/>
            <pc:sldMk cId="2561262077" sldId="2306"/>
            <ac:spMk id="19" creationId="{FA2DE687-D433-4F9B-BA04-9B71E0794E12}"/>
          </ac:spMkLst>
        </pc:spChg>
        <pc:spChg chg="add mod">
          <ac:chgData name="Aurelien Domont" userId="6da7715ce44349b3" providerId="LiveId" clId="{2349E0AC-9333-4F13-B2C9-E74906101359}" dt="2022-01-18T05:54:36.849" v="4522" actId="207"/>
          <ac:spMkLst>
            <pc:docMk/>
            <pc:sldMk cId="2561262077" sldId="2306"/>
            <ac:spMk id="20" creationId="{F9AAE882-921B-4419-AC2D-25F4D2E6FF45}"/>
          </ac:spMkLst>
        </pc:spChg>
        <pc:spChg chg="add mod">
          <ac:chgData name="Aurelien Domont" userId="6da7715ce44349b3" providerId="LiveId" clId="{2349E0AC-9333-4F13-B2C9-E74906101359}" dt="2022-01-18T05:54:23.014" v="4520" actId="554"/>
          <ac:spMkLst>
            <pc:docMk/>
            <pc:sldMk cId="2561262077" sldId="2306"/>
            <ac:spMk id="21" creationId="{572190A2-4315-4FC0-8B2F-09734F7A15B0}"/>
          </ac:spMkLst>
        </pc:spChg>
        <pc:spChg chg="add mod">
          <ac:chgData name="Aurelien Domont" userId="6da7715ce44349b3" providerId="LiveId" clId="{2349E0AC-9333-4F13-B2C9-E74906101359}" dt="2022-01-18T05:54:36.849" v="4522" actId="207"/>
          <ac:spMkLst>
            <pc:docMk/>
            <pc:sldMk cId="2561262077" sldId="2306"/>
            <ac:spMk id="22" creationId="{2720312B-AF47-46A8-99C3-D440228E2D39}"/>
          </ac:spMkLst>
        </pc:spChg>
        <pc:spChg chg="add mod">
          <ac:chgData name="Aurelien Domont" userId="6da7715ce44349b3" providerId="LiveId" clId="{2349E0AC-9333-4F13-B2C9-E74906101359}" dt="2022-01-18T05:54:26.585" v="4521" actId="554"/>
          <ac:spMkLst>
            <pc:docMk/>
            <pc:sldMk cId="2561262077" sldId="2306"/>
            <ac:spMk id="23" creationId="{8C8B18B1-9B35-49A9-8493-B1DCBBF9A520}"/>
          </ac:spMkLst>
        </pc:spChg>
        <pc:spChg chg="add mod">
          <ac:chgData name="Aurelien Domont" userId="6da7715ce44349b3" providerId="LiveId" clId="{2349E0AC-9333-4F13-B2C9-E74906101359}" dt="2022-01-18T05:54:36.849" v="4522" actId="207"/>
          <ac:spMkLst>
            <pc:docMk/>
            <pc:sldMk cId="2561262077" sldId="2306"/>
            <ac:spMk id="24" creationId="{6133B81D-9DD5-4298-8FBB-0AD8520462CC}"/>
          </ac:spMkLst>
        </pc:spChg>
        <pc:spChg chg="add del mod">
          <ac:chgData name="Aurelien Domont" userId="6da7715ce44349b3" providerId="LiveId" clId="{2349E0AC-9333-4F13-B2C9-E74906101359}" dt="2022-01-18T05:52:31.271" v="4490" actId="478"/>
          <ac:spMkLst>
            <pc:docMk/>
            <pc:sldMk cId="2561262077" sldId="2306"/>
            <ac:spMk id="25" creationId="{E20E4870-6F9F-4593-8AAB-C378A5765A8C}"/>
          </ac:spMkLst>
        </pc:spChg>
      </pc:sldChg>
      <pc:sldChg chg="add del">
        <pc:chgData name="Aurelien Domont" userId="6da7715ce44349b3" providerId="LiveId" clId="{2349E0AC-9333-4F13-B2C9-E74906101359}" dt="2022-01-18T05:56:20.110" v="4532" actId="47"/>
        <pc:sldMkLst>
          <pc:docMk/>
          <pc:sldMk cId="2084676109" sldId="2307"/>
        </pc:sldMkLst>
      </pc:sldChg>
      <pc:sldChg chg="modSp add mod">
        <pc:chgData name="Aurelien Domont" userId="6da7715ce44349b3" providerId="LiveId" clId="{2349E0AC-9333-4F13-B2C9-E74906101359}" dt="2022-03-16T03:51:09.303" v="5836"/>
        <pc:sldMkLst>
          <pc:docMk/>
          <pc:sldMk cId="2601760416" sldId="2307"/>
        </pc:sldMkLst>
        <pc:spChg chg="mod">
          <ac:chgData name="Aurelien Domont" userId="6da7715ce44349b3" providerId="LiveId" clId="{2349E0AC-9333-4F13-B2C9-E74906101359}" dt="2022-01-25T06:54:12.613" v="4980" actId="20577"/>
          <ac:spMkLst>
            <pc:docMk/>
            <pc:sldMk cId="2601760416" sldId="2307"/>
            <ac:spMk id="16" creationId="{6C2BB713-9637-4B9B-938F-E9768876782A}"/>
          </ac:spMkLst>
        </pc:spChg>
        <pc:spChg chg="mod">
          <ac:chgData name="Aurelien Domont" userId="6da7715ce44349b3" providerId="LiveId" clId="{2349E0AC-9333-4F13-B2C9-E74906101359}" dt="2022-01-25T06:54:22.669" v="4984" actId="108"/>
          <ac:spMkLst>
            <pc:docMk/>
            <pc:sldMk cId="2601760416" sldId="2307"/>
            <ac:spMk id="19" creationId="{C6B0A235-8D38-48BD-BB48-D3B093522E12}"/>
          </ac:spMkLst>
        </pc:spChg>
        <pc:spChg chg="mod">
          <ac:chgData name="Aurelien Domont" userId="6da7715ce44349b3" providerId="LiveId" clId="{2349E0AC-9333-4F13-B2C9-E74906101359}" dt="2022-01-25T06:54:22.335" v="4983" actId="108"/>
          <ac:spMkLst>
            <pc:docMk/>
            <pc:sldMk cId="2601760416" sldId="2307"/>
            <ac:spMk id="20" creationId="{E5DF333B-B5B6-40FB-A5EB-7865FFF91032}"/>
          </ac:spMkLst>
        </pc:spChg>
        <pc:spChg chg="mod">
          <ac:chgData name="Aurelien Domont" userId="6da7715ce44349b3" providerId="LiveId" clId="{2349E0AC-9333-4F13-B2C9-E74906101359}" dt="2022-01-25T06:24:33.608" v="4654" actId="108"/>
          <ac:spMkLst>
            <pc:docMk/>
            <pc:sldMk cId="2601760416" sldId="2307"/>
            <ac:spMk id="23" creationId="{DF0DDA74-31B4-4E8A-A309-FAB1CA467B05}"/>
          </ac:spMkLst>
        </pc:spChg>
        <pc:spChg chg="mod">
          <ac:chgData name="Aurelien Domont" userId="6da7715ce44349b3" providerId="LiveId" clId="{2349E0AC-9333-4F13-B2C9-E74906101359}" dt="2022-01-25T06:22:30.268" v="4636" actId="108"/>
          <ac:spMkLst>
            <pc:docMk/>
            <pc:sldMk cId="2601760416" sldId="2307"/>
            <ac:spMk id="32" creationId="{B414A55C-F2F4-45EC-9B00-6250DE9E1E21}"/>
          </ac:spMkLst>
        </pc:spChg>
        <pc:spChg chg="mod">
          <ac:chgData name="Aurelien Domont" userId="6da7715ce44349b3" providerId="LiveId" clId="{2349E0AC-9333-4F13-B2C9-E74906101359}" dt="2022-01-25T06:22:22.004" v="4634" actId="207"/>
          <ac:spMkLst>
            <pc:docMk/>
            <pc:sldMk cId="2601760416" sldId="2307"/>
            <ac:spMk id="34" creationId="{56552A59-31FC-4B46-B6E5-38E17DB20DA2}"/>
          </ac:spMkLst>
        </pc:spChg>
        <pc:spChg chg="mod">
          <ac:chgData name="Aurelien Domont" userId="6da7715ce44349b3" providerId="LiveId" clId="{2349E0AC-9333-4F13-B2C9-E74906101359}" dt="2022-01-25T06:22:14.286" v="4633" actId="207"/>
          <ac:spMkLst>
            <pc:docMk/>
            <pc:sldMk cId="2601760416" sldId="2307"/>
            <ac:spMk id="36" creationId="{9A0B9700-F8C0-4130-8B20-26605543B585}"/>
          </ac:spMkLst>
        </pc:spChg>
        <pc:spChg chg="mod">
          <ac:chgData name="Aurelien Domont" userId="6da7715ce44349b3" providerId="LiveId" clId="{2349E0AC-9333-4F13-B2C9-E74906101359}" dt="2022-01-25T06:54:18.540" v="4981" actId="108"/>
          <ac:spMkLst>
            <pc:docMk/>
            <pc:sldMk cId="2601760416" sldId="2307"/>
            <ac:spMk id="38" creationId="{256AA621-C830-4910-BC98-FD7AEDE8D4AC}"/>
          </ac:spMkLst>
        </pc:spChg>
        <pc:spChg chg="mod">
          <ac:chgData name="Aurelien Domont" userId="6da7715ce44349b3" providerId="LiveId" clId="{2349E0AC-9333-4F13-B2C9-E74906101359}" dt="2022-03-16T03:51:09.303" v="5836"/>
          <ac:spMkLst>
            <pc:docMk/>
            <pc:sldMk cId="2601760416" sldId="2307"/>
            <ac:spMk id="40" creationId="{C4DBD02F-1AC2-410A-B8BA-4994ED94E22E}"/>
          </ac:spMkLst>
        </pc:spChg>
        <pc:spChg chg="mod">
          <ac:chgData name="Aurelien Domont" userId="6da7715ce44349b3" providerId="LiveId" clId="{2349E0AC-9333-4F13-B2C9-E74906101359}" dt="2022-01-31T23:52:39.784" v="5684"/>
          <ac:spMkLst>
            <pc:docMk/>
            <pc:sldMk cId="2601760416" sldId="2307"/>
            <ac:spMk id="42" creationId="{733D908A-0E75-4254-8596-437286C23099}"/>
          </ac:spMkLst>
        </pc:spChg>
        <pc:picChg chg="mod">
          <ac:chgData name="Aurelien Domont" userId="6da7715ce44349b3" providerId="LiveId" clId="{2349E0AC-9333-4F13-B2C9-E74906101359}" dt="2022-01-25T06:28:31.047" v="4711" actId="207"/>
          <ac:picMkLst>
            <pc:docMk/>
            <pc:sldMk cId="2601760416" sldId="2307"/>
            <ac:picMk id="24" creationId="{47B17B6F-1789-4F49-8232-922C7B5339A9}"/>
          </ac:picMkLst>
        </pc:picChg>
        <pc:picChg chg="mod">
          <ac:chgData name="Aurelien Domont" userId="6da7715ce44349b3" providerId="LiveId" clId="{2349E0AC-9333-4F13-B2C9-E74906101359}" dt="2022-01-25T06:54:26.202" v="4986" actId="108"/>
          <ac:picMkLst>
            <pc:docMk/>
            <pc:sldMk cId="2601760416" sldId="2307"/>
            <ac:picMk id="26" creationId="{20B3B453-6279-4C40-BCA1-A49FA9257F50}"/>
          </ac:picMkLst>
        </pc:picChg>
        <pc:picChg chg="mod">
          <ac:chgData name="Aurelien Domont" userId="6da7715ce44349b3" providerId="LiveId" clId="{2349E0AC-9333-4F13-B2C9-E74906101359}" dt="2022-01-25T06:54:25.693" v="4985" actId="108"/>
          <ac:picMkLst>
            <pc:docMk/>
            <pc:sldMk cId="2601760416" sldId="2307"/>
            <ac:picMk id="27" creationId="{D171FB39-E2A8-4A75-AA7A-55D6F374EE9D}"/>
          </ac:picMkLst>
        </pc:picChg>
        <pc:picChg chg="mod">
          <ac:chgData name="Aurelien Domont" userId="6da7715ce44349b3" providerId="LiveId" clId="{2349E0AC-9333-4F13-B2C9-E74906101359}" dt="2022-01-25T06:28:40.844" v="4712" actId="108"/>
          <ac:picMkLst>
            <pc:docMk/>
            <pc:sldMk cId="2601760416" sldId="2307"/>
            <ac:picMk id="33" creationId="{61144886-B62F-45C4-B789-5738BF8CC3D9}"/>
          </ac:picMkLst>
        </pc:picChg>
      </pc:sldChg>
      <pc:sldChg chg="addSp delSp modSp new del">
        <pc:chgData name="Aurelien Domont" userId="6da7715ce44349b3" providerId="LiveId" clId="{2349E0AC-9333-4F13-B2C9-E74906101359}" dt="2022-01-20T04:02:27.357" v="4595" actId="47"/>
        <pc:sldMkLst>
          <pc:docMk/>
          <pc:sldMk cId="2708051307" sldId="2307"/>
        </pc:sldMkLst>
        <pc:picChg chg="add del mod">
          <ac:chgData name="Aurelien Domont" userId="6da7715ce44349b3" providerId="LiveId" clId="{2349E0AC-9333-4F13-B2C9-E74906101359}" dt="2022-01-20T03:47:56.487" v="4593" actId="478"/>
          <ac:picMkLst>
            <pc:docMk/>
            <pc:sldMk cId="2708051307" sldId="2307"/>
            <ac:picMk id="1026" creationId="{2CB53098-9FC5-491D-B5AE-764A223ECC35}"/>
          </ac:picMkLst>
        </pc:picChg>
      </pc:sldChg>
      <pc:sldChg chg="modSp add del mod">
        <pc:chgData name="Aurelien Domont" userId="6da7715ce44349b3" providerId="LiveId" clId="{2349E0AC-9333-4F13-B2C9-E74906101359}" dt="2022-01-25T06:59:10.073" v="5011" actId="47"/>
        <pc:sldMkLst>
          <pc:docMk/>
          <pc:sldMk cId="2898427338" sldId="2308"/>
        </pc:sldMkLst>
        <pc:spChg chg="mod">
          <ac:chgData name="Aurelien Domont" userId="6da7715ce44349b3" providerId="LiveId" clId="{2349E0AC-9333-4F13-B2C9-E74906101359}" dt="2022-01-25T06:28:03.669" v="4707" actId="108"/>
          <ac:spMkLst>
            <pc:docMk/>
            <pc:sldMk cId="2898427338" sldId="2308"/>
            <ac:spMk id="19" creationId="{C6B0A235-8D38-48BD-BB48-D3B093522E12}"/>
          </ac:spMkLst>
        </pc:spChg>
        <pc:spChg chg="mod">
          <ac:chgData name="Aurelien Domont" userId="6da7715ce44349b3" providerId="LiveId" clId="{2349E0AC-9333-4F13-B2C9-E74906101359}" dt="2022-01-25T06:28:09.594" v="4708" actId="108"/>
          <ac:spMkLst>
            <pc:docMk/>
            <pc:sldMk cId="2898427338" sldId="2308"/>
            <ac:spMk id="20" creationId="{E5DF333B-B5B6-40FB-A5EB-7865FFF91032}"/>
          </ac:spMkLst>
        </pc:spChg>
        <pc:spChg chg="mod">
          <ac:chgData name="Aurelien Domont" userId="6da7715ce44349b3" providerId="LiveId" clId="{2349E0AC-9333-4F13-B2C9-E74906101359}" dt="2022-01-25T06:27:57.434" v="4703" actId="108"/>
          <ac:spMkLst>
            <pc:docMk/>
            <pc:sldMk cId="2898427338" sldId="2308"/>
            <ac:spMk id="22" creationId="{8CA4BF23-3B3A-495C-A217-38DE0724135E}"/>
          </ac:spMkLst>
        </pc:spChg>
        <pc:spChg chg="mod">
          <ac:chgData name="Aurelien Domont" userId="6da7715ce44349b3" providerId="LiveId" clId="{2349E0AC-9333-4F13-B2C9-E74906101359}" dt="2022-01-25T06:28:03.125" v="4706" actId="108"/>
          <ac:spMkLst>
            <pc:docMk/>
            <pc:sldMk cId="2898427338" sldId="2308"/>
            <ac:spMk id="23" creationId="{DF0DDA74-31B4-4E8A-A309-FAB1CA467B05}"/>
          </ac:spMkLst>
        </pc:spChg>
        <pc:spChg chg="mod">
          <ac:chgData name="Aurelien Domont" userId="6da7715ce44349b3" providerId="LiveId" clId="{2349E0AC-9333-4F13-B2C9-E74906101359}" dt="2022-01-25T06:27:58.002" v="4704" actId="108"/>
          <ac:spMkLst>
            <pc:docMk/>
            <pc:sldMk cId="2898427338" sldId="2308"/>
            <ac:spMk id="25" creationId="{6F5F982C-AD2E-46F0-93F0-7A1D71C27286}"/>
          </ac:spMkLst>
        </pc:spChg>
        <pc:spChg chg="mod">
          <ac:chgData name="Aurelien Domont" userId="6da7715ce44349b3" providerId="LiveId" clId="{2349E0AC-9333-4F13-B2C9-E74906101359}" dt="2022-01-25T06:27:58.757" v="4705" actId="108"/>
          <ac:spMkLst>
            <pc:docMk/>
            <pc:sldMk cId="2898427338" sldId="2308"/>
            <ac:spMk id="30" creationId="{1EB20852-39EE-40E5-B17C-94847F39ACAD}"/>
          </ac:spMkLst>
        </pc:spChg>
        <pc:spChg chg="mod">
          <ac:chgData name="Aurelien Domont" userId="6da7715ce44349b3" providerId="LiveId" clId="{2349E0AC-9333-4F13-B2C9-E74906101359}" dt="2022-01-25T06:27:46.126" v="4700" actId="108"/>
          <ac:spMkLst>
            <pc:docMk/>
            <pc:sldMk cId="2898427338" sldId="2308"/>
            <ac:spMk id="36" creationId="{9A0B9700-F8C0-4130-8B20-26605543B585}"/>
          </ac:spMkLst>
        </pc:spChg>
        <pc:spChg chg="mod">
          <ac:chgData name="Aurelien Domont" userId="6da7715ce44349b3" providerId="LiveId" clId="{2349E0AC-9333-4F13-B2C9-E74906101359}" dt="2022-01-25T06:27:50.303" v="4701" actId="108"/>
          <ac:spMkLst>
            <pc:docMk/>
            <pc:sldMk cId="2898427338" sldId="2308"/>
            <ac:spMk id="38" creationId="{256AA621-C830-4910-BC98-FD7AEDE8D4AC}"/>
          </ac:spMkLst>
        </pc:spChg>
        <pc:spChg chg="mod">
          <ac:chgData name="Aurelien Domont" userId="6da7715ce44349b3" providerId="LiveId" clId="{2349E0AC-9333-4F13-B2C9-E74906101359}" dt="2022-01-25T06:27:53.932" v="4702" actId="108"/>
          <ac:spMkLst>
            <pc:docMk/>
            <pc:sldMk cId="2898427338" sldId="2308"/>
            <ac:spMk id="40" creationId="{C4DBD02F-1AC2-410A-B8BA-4994ED94E22E}"/>
          </ac:spMkLst>
        </pc:spChg>
        <pc:spChg chg="mod">
          <ac:chgData name="Aurelien Domont" userId="6da7715ce44349b3" providerId="LiveId" clId="{2349E0AC-9333-4F13-B2C9-E74906101359}" dt="2022-01-25T06:28:15.473" v="4709" actId="207"/>
          <ac:spMkLst>
            <pc:docMk/>
            <pc:sldMk cId="2898427338" sldId="2308"/>
            <ac:spMk id="42" creationId="{733D908A-0E75-4254-8596-437286C23099}"/>
          </ac:spMkLst>
        </pc:spChg>
        <pc:spChg chg="mod">
          <ac:chgData name="Aurelien Domont" userId="6da7715ce44349b3" providerId="LiveId" clId="{2349E0AC-9333-4F13-B2C9-E74906101359}" dt="2022-01-25T06:28:15.473" v="4709" actId="207"/>
          <ac:spMkLst>
            <pc:docMk/>
            <pc:sldMk cId="2898427338" sldId="2308"/>
            <ac:spMk id="44" creationId="{B0706CE6-7816-4C56-9959-B78EE46D6CFA}"/>
          </ac:spMkLst>
        </pc:spChg>
        <pc:spChg chg="mod">
          <ac:chgData name="Aurelien Domont" userId="6da7715ce44349b3" providerId="LiveId" clId="{2349E0AC-9333-4F13-B2C9-E74906101359}" dt="2022-01-25T06:28:15.473" v="4709" actId="207"/>
          <ac:spMkLst>
            <pc:docMk/>
            <pc:sldMk cId="2898427338" sldId="2308"/>
            <ac:spMk id="46" creationId="{C5265196-9A7A-4B71-94F2-B8BBCFAC80BD}"/>
          </ac:spMkLst>
        </pc:spChg>
        <pc:picChg chg="mod">
          <ac:chgData name="Aurelien Domont" userId="6da7715ce44349b3" providerId="LiveId" clId="{2349E0AC-9333-4F13-B2C9-E74906101359}" dt="2022-01-25T06:28:25.179" v="4710" actId="207"/>
          <ac:picMkLst>
            <pc:docMk/>
            <pc:sldMk cId="2898427338" sldId="2308"/>
            <ac:picMk id="28" creationId="{8BA25537-5E67-4AFB-BB57-F7ECE0FD69FB}"/>
          </ac:picMkLst>
        </pc:picChg>
        <pc:picChg chg="mod">
          <ac:chgData name="Aurelien Domont" userId="6da7715ce44349b3" providerId="LiveId" clId="{2349E0AC-9333-4F13-B2C9-E74906101359}" dt="2022-01-25T06:28:25.179" v="4710" actId="207"/>
          <ac:picMkLst>
            <pc:docMk/>
            <pc:sldMk cId="2898427338" sldId="2308"/>
            <ac:picMk id="29" creationId="{BB41A05E-0C2E-4D86-A58A-DA58FF0CF5D6}"/>
          </ac:picMkLst>
        </pc:picChg>
        <pc:picChg chg="mod">
          <ac:chgData name="Aurelien Domont" userId="6da7715ce44349b3" providerId="LiveId" clId="{2349E0AC-9333-4F13-B2C9-E74906101359}" dt="2022-01-25T06:28:25.179" v="4710" actId="207"/>
          <ac:picMkLst>
            <pc:docMk/>
            <pc:sldMk cId="2898427338" sldId="2308"/>
            <ac:picMk id="31" creationId="{4400597E-1863-44A9-A2D8-A31195DB2DE2}"/>
          </ac:picMkLst>
        </pc:picChg>
        <pc:picChg chg="mod">
          <ac:chgData name="Aurelien Domont" userId="6da7715ce44349b3" providerId="LiveId" clId="{2349E0AC-9333-4F13-B2C9-E74906101359}" dt="2022-01-25T06:28:46.126" v="4713" actId="108"/>
          <ac:picMkLst>
            <pc:docMk/>
            <pc:sldMk cId="2898427338" sldId="2308"/>
            <ac:picMk id="33" creationId="{61144886-B62F-45C4-B789-5738BF8CC3D9}"/>
          </ac:picMkLst>
        </pc:picChg>
      </pc:sldChg>
      <pc:sldChg chg="addSp modSp new del">
        <pc:chgData name="Aurelien Domont" userId="6da7715ce44349b3" providerId="LiveId" clId="{2349E0AC-9333-4F13-B2C9-E74906101359}" dt="2022-01-20T04:02:24.696" v="4594" actId="47"/>
        <pc:sldMkLst>
          <pc:docMk/>
          <pc:sldMk cId="3019144487" sldId="2308"/>
        </pc:sldMkLst>
        <pc:picChg chg="add mod">
          <ac:chgData name="Aurelien Domont" userId="6da7715ce44349b3" providerId="LiveId" clId="{2349E0AC-9333-4F13-B2C9-E74906101359}" dt="2022-01-20T02:49:56.357" v="4591" actId="14100"/>
          <ac:picMkLst>
            <pc:docMk/>
            <pc:sldMk cId="3019144487" sldId="2308"/>
            <ac:picMk id="2050" creationId="{94EB2BB2-34AD-428D-83CD-E12F38BBE01B}"/>
          </ac:picMkLst>
        </pc:picChg>
      </pc:sldChg>
      <pc:sldChg chg="add">
        <pc:chgData name="Aurelien Domont" userId="6da7715ce44349b3" providerId="LiveId" clId="{2349E0AC-9333-4F13-B2C9-E74906101359}" dt="2022-01-25T06:38:38.152" v="4715"/>
        <pc:sldMkLst>
          <pc:docMk/>
          <pc:sldMk cId="2193234168" sldId="2328"/>
        </pc:sldMkLst>
      </pc:sldChg>
      <pc:sldChg chg="add">
        <pc:chgData name="Aurelien Domont" userId="6da7715ce44349b3" providerId="LiveId" clId="{2349E0AC-9333-4F13-B2C9-E74906101359}" dt="2022-01-25T06:38:38.152" v="4715"/>
        <pc:sldMkLst>
          <pc:docMk/>
          <pc:sldMk cId="3297884978" sldId="2329"/>
        </pc:sldMkLst>
      </pc:sldChg>
      <pc:sldChg chg="add">
        <pc:chgData name="Aurelien Domont" userId="6da7715ce44349b3" providerId="LiveId" clId="{2349E0AC-9333-4F13-B2C9-E74906101359}" dt="2022-01-25T06:38:38.152" v="4715"/>
        <pc:sldMkLst>
          <pc:docMk/>
          <pc:sldMk cId="4059825337" sldId="2330"/>
        </pc:sldMkLst>
      </pc:sldChg>
      <pc:sldChg chg="add">
        <pc:chgData name="Aurelien Domont" userId="6da7715ce44349b3" providerId="LiveId" clId="{2349E0AC-9333-4F13-B2C9-E74906101359}" dt="2022-01-25T06:38:38.152" v="4715"/>
        <pc:sldMkLst>
          <pc:docMk/>
          <pc:sldMk cId="2689311263" sldId="2331"/>
        </pc:sldMkLst>
      </pc:sldChg>
      <pc:sldChg chg="modSp add mod">
        <pc:chgData name="Aurelien Domont" userId="6da7715ce44349b3" providerId="LiveId" clId="{2349E0AC-9333-4F13-B2C9-E74906101359}" dt="2022-03-16T03:50:12.766" v="5835"/>
        <pc:sldMkLst>
          <pc:docMk/>
          <pc:sldMk cId="936905113" sldId="2332"/>
        </pc:sldMkLst>
        <pc:spChg chg="mod">
          <ac:chgData name="Aurelien Domont" userId="6da7715ce44349b3" providerId="LiveId" clId="{2349E0AC-9333-4F13-B2C9-E74906101359}" dt="2022-03-16T03:50:03.866" v="5834" actId="20577"/>
          <ac:spMkLst>
            <pc:docMk/>
            <pc:sldMk cId="936905113" sldId="2332"/>
            <ac:spMk id="18" creationId="{21667EBA-148E-404F-8982-0A86B76DF75F}"/>
          </ac:spMkLst>
        </pc:spChg>
        <pc:spChg chg="mod">
          <ac:chgData name="Aurelien Domont" userId="6da7715ce44349b3" providerId="LiveId" clId="{2349E0AC-9333-4F13-B2C9-E74906101359}" dt="2022-03-16T03:50:12.766" v="5835"/>
          <ac:spMkLst>
            <pc:docMk/>
            <pc:sldMk cId="936905113" sldId="2332"/>
            <ac:spMk id="43" creationId="{777139AA-6837-4555-BC2A-2F31A3EF81D9}"/>
          </ac:spMkLst>
        </pc:spChg>
      </pc:sldChg>
      <pc:sldChg chg="addSp delSp modSp add mod ord">
        <pc:chgData name="Aurelien Domont" userId="6da7715ce44349b3" providerId="LiveId" clId="{2349E0AC-9333-4F13-B2C9-E74906101359}" dt="2022-01-25T07:00:16.557" v="5051" actId="166"/>
        <pc:sldMkLst>
          <pc:docMk/>
          <pc:sldMk cId="1731628359" sldId="2333"/>
        </pc:sldMkLst>
        <pc:spChg chg="del">
          <ac:chgData name="Aurelien Domont" userId="6da7715ce44349b3" providerId="LiveId" clId="{2349E0AC-9333-4F13-B2C9-E74906101359}" dt="2022-01-25T06:47:03.137" v="4951" actId="478"/>
          <ac:spMkLst>
            <pc:docMk/>
            <pc:sldMk cId="1731628359" sldId="2333"/>
            <ac:spMk id="12" creationId="{E7675798-47BC-4250-BA24-0E2AC4A10A86}"/>
          </ac:spMkLst>
        </pc:spChg>
        <pc:spChg chg="del">
          <ac:chgData name="Aurelien Domont" userId="6da7715ce44349b3" providerId="LiveId" clId="{2349E0AC-9333-4F13-B2C9-E74906101359}" dt="2022-01-25T06:47:03.137" v="4951" actId="478"/>
          <ac:spMkLst>
            <pc:docMk/>
            <pc:sldMk cId="1731628359" sldId="2333"/>
            <ac:spMk id="15" creationId="{9D051C05-62A5-4FB5-846C-31987D33AA9E}"/>
          </ac:spMkLst>
        </pc:spChg>
        <pc:spChg chg="mod">
          <ac:chgData name="Aurelien Domont" userId="6da7715ce44349b3" providerId="LiveId" clId="{2349E0AC-9333-4F13-B2C9-E74906101359}" dt="2022-01-25T06:59:23.683" v="5015" actId="20577"/>
          <ac:spMkLst>
            <pc:docMk/>
            <pc:sldMk cId="1731628359" sldId="2333"/>
            <ac:spMk id="16" creationId="{6C2BB713-9637-4B9B-938F-E9768876782A}"/>
          </ac:spMkLst>
        </pc:spChg>
        <pc:spChg chg="del">
          <ac:chgData name="Aurelien Domont" userId="6da7715ce44349b3" providerId="LiveId" clId="{2349E0AC-9333-4F13-B2C9-E74906101359}" dt="2022-01-25T06:47:03.137" v="4951" actId="478"/>
          <ac:spMkLst>
            <pc:docMk/>
            <pc:sldMk cId="1731628359" sldId="2333"/>
            <ac:spMk id="17" creationId="{142BE8BF-9256-475D-900B-55FCC0CE6DB5}"/>
          </ac:spMkLst>
        </pc:spChg>
        <pc:spChg chg="del">
          <ac:chgData name="Aurelien Domont" userId="6da7715ce44349b3" providerId="LiveId" clId="{2349E0AC-9333-4F13-B2C9-E74906101359}" dt="2022-01-25T06:47:03.137" v="4951" actId="478"/>
          <ac:spMkLst>
            <pc:docMk/>
            <pc:sldMk cId="1731628359" sldId="2333"/>
            <ac:spMk id="19" creationId="{B9017FA6-F0E0-4269-9C6B-53FA5BEF3E64}"/>
          </ac:spMkLst>
        </pc:spChg>
        <pc:spChg chg="add del mod">
          <ac:chgData name="Aurelien Domont" userId="6da7715ce44349b3" providerId="LiveId" clId="{2349E0AC-9333-4F13-B2C9-E74906101359}" dt="2022-01-25T06:59:27.229" v="5016" actId="478"/>
          <ac:spMkLst>
            <pc:docMk/>
            <pc:sldMk cId="1731628359" sldId="2333"/>
            <ac:spMk id="26" creationId="{8A496AB1-5E96-4665-A61D-C798C5DCED02}"/>
          </ac:spMkLst>
        </pc:spChg>
        <pc:spChg chg="add del mod">
          <ac:chgData name="Aurelien Domont" userId="6da7715ce44349b3" providerId="LiveId" clId="{2349E0AC-9333-4F13-B2C9-E74906101359}" dt="2022-01-25T06:51:39.565" v="4962" actId="478"/>
          <ac:spMkLst>
            <pc:docMk/>
            <pc:sldMk cId="1731628359" sldId="2333"/>
            <ac:spMk id="27" creationId="{BCCAEE0D-93DA-4CC9-89FC-90F7CC7CDC32}"/>
          </ac:spMkLst>
        </pc:spChg>
        <pc:spChg chg="add del mod">
          <ac:chgData name="Aurelien Domont" userId="6da7715ce44349b3" providerId="LiveId" clId="{2349E0AC-9333-4F13-B2C9-E74906101359}" dt="2022-01-25T06:59:28.798" v="5017" actId="478"/>
          <ac:spMkLst>
            <pc:docMk/>
            <pc:sldMk cId="1731628359" sldId="2333"/>
            <ac:spMk id="29" creationId="{9042484E-363C-43A0-B572-B4A1B58E8C40}"/>
          </ac:spMkLst>
        </pc:spChg>
        <pc:spChg chg="add del mod">
          <ac:chgData name="Aurelien Domont" userId="6da7715ce44349b3" providerId="LiveId" clId="{2349E0AC-9333-4F13-B2C9-E74906101359}" dt="2022-01-25T06:51:37.840" v="4961" actId="478"/>
          <ac:spMkLst>
            <pc:docMk/>
            <pc:sldMk cId="1731628359" sldId="2333"/>
            <ac:spMk id="31" creationId="{245BB313-3CFA-4E97-BA43-10F951D0417C}"/>
          </ac:spMkLst>
        </pc:spChg>
        <pc:spChg chg="add mod">
          <ac:chgData name="Aurelien Domont" userId="6da7715ce44349b3" providerId="LiveId" clId="{2349E0AC-9333-4F13-B2C9-E74906101359}" dt="2022-01-25T06:59:38.151" v="5020" actId="1076"/>
          <ac:spMkLst>
            <pc:docMk/>
            <pc:sldMk cId="1731628359" sldId="2333"/>
            <ac:spMk id="36" creationId="{70574418-20AB-4F99-B27B-9ABA8E68A9A4}"/>
          </ac:spMkLst>
        </pc:spChg>
        <pc:picChg chg="add mod">
          <ac:chgData name="Aurelien Domont" userId="6da7715ce44349b3" providerId="LiveId" clId="{2349E0AC-9333-4F13-B2C9-E74906101359}" dt="2022-01-25T07:00:12.526" v="5050" actId="1038"/>
          <ac:picMkLst>
            <pc:docMk/>
            <pc:sldMk cId="1731628359" sldId="2333"/>
            <ac:picMk id="2" creationId="{85842068-8E19-40AB-BEFB-F0756D16F587}"/>
          </ac:picMkLst>
        </pc:picChg>
        <pc:picChg chg="del">
          <ac:chgData name="Aurelien Domont" userId="6da7715ce44349b3" providerId="LiveId" clId="{2349E0AC-9333-4F13-B2C9-E74906101359}" dt="2022-01-25T06:47:03.137" v="4951" actId="478"/>
          <ac:picMkLst>
            <pc:docMk/>
            <pc:sldMk cId="1731628359" sldId="2333"/>
            <ac:picMk id="14" creationId="{04B2A881-2EC5-4093-84BC-F5B268975F25}"/>
          </ac:picMkLst>
        </pc:picChg>
        <pc:picChg chg="del">
          <ac:chgData name="Aurelien Domont" userId="6da7715ce44349b3" providerId="LiveId" clId="{2349E0AC-9333-4F13-B2C9-E74906101359}" dt="2022-01-25T06:47:03.137" v="4951" actId="478"/>
          <ac:picMkLst>
            <pc:docMk/>
            <pc:sldMk cId="1731628359" sldId="2333"/>
            <ac:picMk id="18" creationId="{17C7B38E-2E67-4720-B664-7F8A1FF33A86}"/>
          </ac:picMkLst>
        </pc:picChg>
        <pc:picChg chg="del">
          <ac:chgData name="Aurelien Domont" userId="6da7715ce44349b3" providerId="LiveId" clId="{2349E0AC-9333-4F13-B2C9-E74906101359}" dt="2022-01-25T06:47:03.137" v="4951" actId="478"/>
          <ac:picMkLst>
            <pc:docMk/>
            <pc:sldMk cId="1731628359" sldId="2333"/>
            <ac:picMk id="20" creationId="{371787DE-423F-4CD9-9495-E164624BDFAF}"/>
          </ac:picMkLst>
        </pc:picChg>
        <pc:picChg chg="del">
          <ac:chgData name="Aurelien Domont" userId="6da7715ce44349b3" providerId="LiveId" clId="{2349E0AC-9333-4F13-B2C9-E74906101359}" dt="2022-01-25T06:47:03.137" v="4951" actId="478"/>
          <ac:picMkLst>
            <pc:docMk/>
            <pc:sldMk cId="1731628359" sldId="2333"/>
            <ac:picMk id="21" creationId="{B9F74C00-9E6B-41B9-857F-88B111959D25}"/>
          </ac:picMkLst>
        </pc:picChg>
        <pc:picChg chg="add del mod">
          <ac:chgData name="Aurelien Domont" userId="6da7715ce44349b3" providerId="LiveId" clId="{2349E0AC-9333-4F13-B2C9-E74906101359}" dt="2022-01-25T06:59:27.229" v="5016" actId="478"/>
          <ac:picMkLst>
            <pc:docMk/>
            <pc:sldMk cId="1731628359" sldId="2333"/>
            <ac:picMk id="22" creationId="{D49F158F-F8BC-4F13-AF5D-04CA96F7F7E5}"/>
          </ac:picMkLst>
        </pc:picChg>
        <pc:picChg chg="add del mod">
          <ac:chgData name="Aurelien Domont" userId="6da7715ce44349b3" providerId="LiveId" clId="{2349E0AC-9333-4F13-B2C9-E74906101359}" dt="2022-01-25T06:59:27.229" v="5016" actId="478"/>
          <ac:picMkLst>
            <pc:docMk/>
            <pc:sldMk cId="1731628359" sldId="2333"/>
            <ac:picMk id="23" creationId="{F5E10DDE-22ED-4A50-9CCD-A041476C94C5}"/>
          </ac:picMkLst>
        </pc:picChg>
        <pc:picChg chg="add del mod">
          <ac:chgData name="Aurelien Domont" userId="6da7715ce44349b3" providerId="LiveId" clId="{2349E0AC-9333-4F13-B2C9-E74906101359}" dt="2022-01-25T06:51:34.954" v="4958" actId="478"/>
          <ac:picMkLst>
            <pc:docMk/>
            <pc:sldMk cId="1731628359" sldId="2333"/>
            <ac:picMk id="24" creationId="{83E69E20-8B71-41C0-B4A4-A3F29A3D8A47}"/>
          </ac:picMkLst>
        </pc:picChg>
        <pc:picChg chg="add del mod">
          <ac:chgData name="Aurelien Domont" userId="6da7715ce44349b3" providerId="LiveId" clId="{2349E0AC-9333-4F13-B2C9-E74906101359}" dt="2022-01-25T06:51:35.768" v="4959" actId="478"/>
          <ac:picMkLst>
            <pc:docMk/>
            <pc:sldMk cId="1731628359" sldId="2333"/>
            <ac:picMk id="25" creationId="{F2AE9F3D-9C35-4B07-A6AA-39B560D73EE5}"/>
          </ac:picMkLst>
        </pc:picChg>
        <pc:picChg chg="add del mod">
          <ac:chgData name="Aurelien Domont" userId="6da7715ce44349b3" providerId="LiveId" clId="{2349E0AC-9333-4F13-B2C9-E74906101359}" dt="2022-01-25T06:59:28.798" v="5017" actId="478"/>
          <ac:picMkLst>
            <pc:docMk/>
            <pc:sldMk cId="1731628359" sldId="2333"/>
            <ac:picMk id="28" creationId="{7C39AA9B-6B84-4BA5-A3BF-0E384073F0A5}"/>
          </ac:picMkLst>
        </pc:picChg>
        <pc:picChg chg="add del mod">
          <ac:chgData name="Aurelien Domont" userId="6da7715ce44349b3" providerId="LiveId" clId="{2349E0AC-9333-4F13-B2C9-E74906101359}" dt="2022-01-25T06:51:34.954" v="4958" actId="478"/>
          <ac:picMkLst>
            <pc:docMk/>
            <pc:sldMk cId="1731628359" sldId="2333"/>
            <ac:picMk id="30" creationId="{E9AC7645-31CB-4208-BB9D-57CE927AC34E}"/>
          </ac:picMkLst>
        </pc:picChg>
        <pc:picChg chg="add del mod">
          <ac:chgData name="Aurelien Domont" userId="6da7715ce44349b3" providerId="LiveId" clId="{2349E0AC-9333-4F13-B2C9-E74906101359}" dt="2022-01-25T07:00:09.950" v="5038" actId="478"/>
          <ac:picMkLst>
            <pc:docMk/>
            <pc:sldMk cId="1731628359" sldId="2333"/>
            <ac:picMk id="32" creationId="{62C39948-1D95-45E7-9AED-A4CD593D3DA4}"/>
          </ac:picMkLst>
        </pc:picChg>
        <pc:picChg chg="add mod">
          <ac:chgData name="Aurelien Domont" userId="6da7715ce44349b3" providerId="LiveId" clId="{2349E0AC-9333-4F13-B2C9-E74906101359}" dt="2022-01-25T07:00:16.557" v="5051" actId="166"/>
          <ac:picMkLst>
            <pc:docMk/>
            <pc:sldMk cId="1731628359" sldId="2333"/>
            <ac:picMk id="33" creationId="{F9383CE5-DBF8-4438-B0CC-6FA8C09B75C3}"/>
          </ac:picMkLst>
        </pc:picChg>
        <pc:picChg chg="add del mod">
          <ac:chgData name="Aurelien Domont" userId="6da7715ce44349b3" providerId="LiveId" clId="{2349E0AC-9333-4F13-B2C9-E74906101359}" dt="2022-01-25T06:59:28.798" v="5017" actId="478"/>
          <ac:picMkLst>
            <pc:docMk/>
            <pc:sldMk cId="1731628359" sldId="2333"/>
            <ac:picMk id="34" creationId="{2A3A37E8-0D01-4A62-92F2-47DD94DED4E8}"/>
          </ac:picMkLst>
        </pc:picChg>
        <pc:picChg chg="add del mod">
          <ac:chgData name="Aurelien Domont" userId="6da7715ce44349b3" providerId="LiveId" clId="{2349E0AC-9333-4F13-B2C9-E74906101359}" dt="2022-01-25T06:51:36.801" v="4960" actId="478"/>
          <ac:picMkLst>
            <pc:docMk/>
            <pc:sldMk cId="1731628359" sldId="2333"/>
            <ac:picMk id="35" creationId="{79E287B0-885D-4587-982F-693D3A723C1C}"/>
          </ac:picMkLst>
        </pc:picChg>
      </pc:sldChg>
      <pc:sldChg chg="modSp add">
        <pc:chgData name="Aurelien Domont" userId="6da7715ce44349b3" providerId="LiveId" clId="{2349E0AC-9333-4F13-B2C9-E74906101359}" dt="2022-03-16T03:51:19.368" v="5837"/>
        <pc:sldMkLst>
          <pc:docMk/>
          <pc:sldMk cId="1891197090" sldId="2373"/>
        </pc:sldMkLst>
        <pc:spChg chg="mod">
          <ac:chgData name="Aurelien Domont" userId="6da7715ce44349b3" providerId="LiveId" clId="{2349E0AC-9333-4F13-B2C9-E74906101359}" dt="2022-03-16T03:51:19.368" v="5837"/>
          <ac:spMkLst>
            <pc:docMk/>
            <pc:sldMk cId="1891197090" sldId="2373"/>
            <ac:spMk id="12" creationId="{99B185B6-82CA-4265-8A83-14F53B0633EA}"/>
          </ac:spMkLst>
        </pc:spChg>
      </pc:sldChg>
      <pc:sldChg chg="addSp delSp add">
        <pc:chgData name="Aurelien Domont" userId="6da7715ce44349b3" providerId="LiveId" clId="{2349E0AC-9333-4F13-B2C9-E74906101359}" dt="2022-03-16T03:51:27.048" v="5840"/>
        <pc:sldMkLst>
          <pc:docMk/>
          <pc:sldMk cId="3499954665" sldId="2374"/>
        </pc:sldMkLst>
        <pc:graphicFrameChg chg="add del">
          <ac:chgData name="Aurelien Domont" userId="6da7715ce44349b3" providerId="LiveId" clId="{2349E0AC-9333-4F13-B2C9-E74906101359}" dt="2022-03-16T03:51:27.048" v="5840"/>
          <ac:graphicFrameMkLst>
            <pc:docMk/>
            <pc:sldMk cId="3499954665" sldId="2374"/>
            <ac:graphicFrameMk id="2" creationId="{C97B4D14-17F6-46C4-92AE-CB17C728BFD8}"/>
          </ac:graphicFrameMkLst>
        </pc:graphicFrameChg>
        <pc:graphicFrameChg chg="del">
          <ac:chgData name="Aurelien Domont" userId="6da7715ce44349b3" providerId="LiveId" clId="{2349E0AC-9333-4F13-B2C9-E74906101359}" dt="2022-03-16T03:51:27.048" v="5840"/>
          <ac:graphicFrameMkLst>
            <pc:docMk/>
            <pc:sldMk cId="3499954665" sldId="2374"/>
            <ac:graphicFrameMk id="6" creationId="{C97B4D14-17F6-46C4-92AE-CB17C728BFD8}"/>
          </ac:graphicFrameMkLst>
        </pc:graphicFrameChg>
        <pc:graphicFrameChg chg="del">
          <ac:chgData name="Aurelien Domont" userId="6da7715ce44349b3" providerId="LiveId" clId="{2349E0AC-9333-4F13-B2C9-E74906101359}" dt="2022-03-16T03:51:25.814" v="5838"/>
          <ac:graphicFrameMkLst>
            <pc:docMk/>
            <pc:sldMk cId="3499954665" sldId="2374"/>
            <ac:graphicFrameMk id="10" creationId="{C97B4D14-17F6-46C4-92AE-CB17C728BFD8}"/>
          </ac:graphicFrameMkLst>
        </pc:graphicFrameChg>
      </pc:sldChg>
      <pc:sldChg chg="addSp delSp modSp add mod">
        <pc:chgData name="Aurelien Domont" userId="6da7715ce44349b3" providerId="LiveId" clId="{2349E0AC-9333-4F13-B2C9-E74906101359}" dt="2022-02-01T00:13:14.270" v="5809" actId="1036"/>
        <pc:sldMkLst>
          <pc:docMk/>
          <pc:sldMk cId="3771319742" sldId="2376"/>
        </pc:sldMkLst>
        <pc:spChg chg="add del mod">
          <ac:chgData name="Aurelien Domont" userId="6da7715ce44349b3" providerId="LiveId" clId="{2349E0AC-9333-4F13-B2C9-E74906101359}" dt="2022-02-01T00:13:02.847" v="5796" actId="478"/>
          <ac:spMkLst>
            <pc:docMk/>
            <pc:sldMk cId="3771319742" sldId="2376"/>
            <ac:spMk id="9" creationId="{8693A703-F5E7-4E5F-BC8D-E11BDC02D70B}"/>
          </ac:spMkLst>
        </pc:spChg>
        <pc:picChg chg="del">
          <ac:chgData name="Aurelien Domont" userId="6da7715ce44349b3" providerId="LiveId" clId="{2349E0AC-9333-4F13-B2C9-E74906101359}" dt="2022-02-01T00:12:58.571" v="5793" actId="478"/>
          <ac:picMkLst>
            <pc:docMk/>
            <pc:sldMk cId="3771319742" sldId="2376"/>
            <ac:picMk id="7" creationId="{85EEAC06-1B62-4651-82E7-38DA809F7528}"/>
          </ac:picMkLst>
        </pc:picChg>
        <pc:picChg chg="del">
          <ac:chgData name="Aurelien Domont" userId="6da7715ce44349b3" providerId="LiveId" clId="{2349E0AC-9333-4F13-B2C9-E74906101359}" dt="2022-02-01T00:12:58.571" v="5793" actId="478"/>
          <ac:picMkLst>
            <pc:docMk/>
            <pc:sldMk cId="3771319742" sldId="2376"/>
            <ac:picMk id="8" creationId="{1C4E5CCE-84D6-478F-B3EB-737FB1E434F4}"/>
          </ac:picMkLst>
        </pc:picChg>
        <pc:picChg chg="add mod">
          <ac:chgData name="Aurelien Domont" userId="6da7715ce44349b3" providerId="LiveId" clId="{2349E0AC-9333-4F13-B2C9-E74906101359}" dt="2022-02-01T00:13:14.270" v="5809" actId="1036"/>
          <ac:picMkLst>
            <pc:docMk/>
            <pc:sldMk cId="3771319742" sldId="2376"/>
            <ac:picMk id="10" creationId="{5E688EF2-DF13-4049-B8D7-5F9105EE4044}"/>
          </ac:picMkLst>
        </pc:picChg>
        <pc:picChg chg="add mod">
          <ac:chgData name="Aurelien Domont" userId="6da7715ce44349b3" providerId="LiveId" clId="{2349E0AC-9333-4F13-B2C9-E74906101359}" dt="2022-02-01T00:13:11.123" v="5801" actId="1076"/>
          <ac:picMkLst>
            <pc:docMk/>
            <pc:sldMk cId="3771319742" sldId="2376"/>
            <ac:picMk id="11" creationId="{0B8D8CBD-AD2C-4EEF-B7DA-CF306C620CE1}"/>
          </ac:picMkLst>
        </pc:picChg>
      </pc:sldChg>
      <pc:sldChg chg="addSp delSp modSp add mod ord">
        <pc:chgData name="Aurelien Domont" userId="6da7715ce44349b3" providerId="LiveId" clId="{2349E0AC-9333-4F13-B2C9-E74906101359}" dt="2022-03-16T03:52:30.006" v="5849"/>
        <pc:sldMkLst>
          <pc:docMk/>
          <pc:sldMk cId="281054355" sldId="2379"/>
        </pc:sldMkLst>
        <pc:spChg chg="mod">
          <ac:chgData name="Aurelien Domont" userId="6da7715ce44349b3" providerId="LiveId" clId="{2349E0AC-9333-4F13-B2C9-E74906101359}" dt="2022-03-16T03:52:24.009" v="5846" actId="20577"/>
          <ac:spMkLst>
            <pc:docMk/>
            <pc:sldMk cId="281054355" sldId="2379"/>
            <ac:spMk id="16" creationId="{6C2BB713-9637-4B9B-938F-E9768876782A}"/>
          </ac:spMkLst>
        </pc:spChg>
        <pc:grpChg chg="add del">
          <ac:chgData name="Aurelien Domont" userId="6da7715ce44349b3" providerId="LiveId" clId="{2349E0AC-9333-4F13-B2C9-E74906101359}" dt="2022-03-16T03:52:30.006" v="5849"/>
          <ac:grpSpMkLst>
            <pc:docMk/>
            <pc:sldMk cId="281054355" sldId="2379"/>
            <ac:grpSpMk id="4" creationId="{A196AE8F-C81C-461E-8310-6E3AD0E01D47}"/>
          </ac:grpSpMkLst>
        </pc:grpChg>
        <pc:grpChg chg="del">
          <ac:chgData name="Aurelien Domont" userId="6da7715ce44349b3" providerId="LiveId" clId="{2349E0AC-9333-4F13-B2C9-E74906101359}" dt="2022-03-16T03:52:30.006" v="5849"/>
          <ac:grpSpMkLst>
            <pc:docMk/>
            <pc:sldMk cId="281054355" sldId="2379"/>
            <ac:grpSpMk id="31" creationId="{A196AE8F-C81C-461E-8310-6E3AD0E01D47}"/>
          </ac:grpSpMkLst>
        </pc:grpChg>
      </pc:sldChg>
      <pc:sldChg chg="add ord">
        <pc:chgData name="Aurelien Domont" userId="6da7715ce44349b3" providerId="LiveId" clId="{2349E0AC-9333-4F13-B2C9-E74906101359}" dt="2022-01-25T06:57:31.868" v="4998"/>
        <pc:sldMkLst>
          <pc:docMk/>
          <pc:sldMk cId="4169770370" sldId="2380"/>
        </pc:sldMkLst>
      </pc:sldChg>
      <pc:sldChg chg="modSp add mod">
        <pc:chgData name="Aurelien Domont" userId="6da7715ce44349b3" providerId="LiveId" clId="{2349E0AC-9333-4F13-B2C9-E74906101359}" dt="2022-03-16T03:51:59.224" v="5842"/>
        <pc:sldMkLst>
          <pc:docMk/>
          <pc:sldMk cId="376183140" sldId="2381"/>
        </pc:sldMkLst>
        <pc:spChg chg="mod">
          <ac:chgData name="Aurelien Domont" userId="6da7715ce44349b3" providerId="LiveId" clId="{2349E0AC-9333-4F13-B2C9-E74906101359}" dt="2022-01-25T06:56:53.867" v="4992" actId="20577"/>
          <ac:spMkLst>
            <pc:docMk/>
            <pc:sldMk cId="376183140" sldId="2381"/>
            <ac:spMk id="16" creationId="{6C2BB713-9637-4B9B-938F-E9768876782A}"/>
          </ac:spMkLst>
        </pc:spChg>
        <pc:spChg chg="mod">
          <ac:chgData name="Aurelien Domont" userId="6da7715ce44349b3" providerId="LiveId" clId="{2349E0AC-9333-4F13-B2C9-E74906101359}" dt="2022-01-25T06:56:59.766" v="4993" actId="108"/>
          <ac:spMkLst>
            <pc:docMk/>
            <pc:sldMk cId="376183140" sldId="2381"/>
            <ac:spMk id="19" creationId="{C6B0A235-8D38-48BD-BB48-D3B093522E12}"/>
          </ac:spMkLst>
        </pc:spChg>
        <pc:spChg chg="mod">
          <ac:chgData name="Aurelien Domont" userId="6da7715ce44349b3" providerId="LiveId" clId="{2349E0AC-9333-4F13-B2C9-E74906101359}" dt="2022-01-25T06:57:02.015" v="4994" actId="108"/>
          <ac:spMkLst>
            <pc:docMk/>
            <pc:sldMk cId="376183140" sldId="2381"/>
            <ac:spMk id="23" creationId="{DF0DDA74-31B4-4E8A-A309-FAB1CA467B05}"/>
          </ac:spMkLst>
        </pc:spChg>
        <pc:spChg chg="mod">
          <ac:chgData name="Aurelien Domont" userId="6da7715ce44349b3" providerId="LiveId" clId="{2349E0AC-9333-4F13-B2C9-E74906101359}" dt="2022-03-16T03:51:55.781" v="5841"/>
          <ac:spMkLst>
            <pc:docMk/>
            <pc:sldMk cId="376183140" sldId="2381"/>
            <ac:spMk id="36" creationId="{9A0B9700-F8C0-4130-8B20-26605543B585}"/>
          </ac:spMkLst>
        </pc:spChg>
        <pc:spChg chg="mod">
          <ac:chgData name="Aurelien Domont" userId="6da7715ce44349b3" providerId="LiveId" clId="{2349E0AC-9333-4F13-B2C9-E74906101359}" dt="2022-01-25T06:57:06.259" v="4995" actId="108"/>
          <ac:spMkLst>
            <pc:docMk/>
            <pc:sldMk cId="376183140" sldId="2381"/>
            <ac:spMk id="38" creationId="{256AA621-C830-4910-BC98-FD7AEDE8D4AC}"/>
          </ac:spMkLst>
        </pc:spChg>
        <pc:spChg chg="mod">
          <ac:chgData name="Aurelien Domont" userId="6da7715ce44349b3" providerId="LiveId" clId="{2349E0AC-9333-4F13-B2C9-E74906101359}" dt="2022-03-16T03:51:59.224" v="5842"/>
          <ac:spMkLst>
            <pc:docMk/>
            <pc:sldMk cId="376183140" sldId="2381"/>
            <ac:spMk id="40" creationId="{C4DBD02F-1AC2-410A-B8BA-4994ED94E22E}"/>
          </ac:spMkLst>
        </pc:spChg>
        <pc:spChg chg="mod">
          <ac:chgData name="Aurelien Domont" userId="6da7715ce44349b3" providerId="LiveId" clId="{2349E0AC-9333-4F13-B2C9-E74906101359}" dt="2022-01-31T23:52:50.496" v="5685"/>
          <ac:spMkLst>
            <pc:docMk/>
            <pc:sldMk cId="376183140" sldId="2381"/>
            <ac:spMk id="42" creationId="{733D908A-0E75-4254-8596-437286C23099}"/>
          </ac:spMkLst>
        </pc:spChg>
        <pc:picChg chg="mod">
          <ac:chgData name="Aurelien Domont" userId="6da7715ce44349b3" providerId="LiveId" clId="{2349E0AC-9333-4F13-B2C9-E74906101359}" dt="2022-01-25T06:58:11.264" v="5001" actId="108"/>
          <ac:picMkLst>
            <pc:docMk/>
            <pc:sldMk cId="376183140" sldId="2381"/>
            <ac:picMk id="24" creationId="{47B17B6F-1789-4F49-8232-922C7B5339A9}"/>
          </ac:picMkLst>
        </pc:picChg>
        <pc:picChg chg="mod">
          <ac:chgData name="Aurelien Domont" userId="6da7715ce44349b3" providerId="LiveId" clId="{2349E0AC-9333-4F13-B2C9-E74906101359}" dt="2022-01-25T06:58:09.129" v="5000" actId="108"/>
          <ac:picMkLst>
            <pc:docMk/>
            <pc:sldMk cId="376183140" sldId="2381"/>
            <ac:picMk id="27" creationId="{D171FB39-E2A8-4A75-AA7A-55D6F374EE9D}"/>
          </ac:picMkLst>
        </pc:picChg>
      </pc:sldChg>
      <pc:sldChg chg="modSp add mod">
        <pc:chgData name="Aurelien Domont" userId="6da7715ce44349b3" providerId="LiveId" clId="{2349E0AC-9333-4F13-B2C9-E74906101359}" dt="2022-03-16T03:53:15.758" v="5851"/>
        <pc:sldMkLst>
          <pc:docMk/>
          <pc:sldMk cId="190418369" sldId="2382"/>
        </pc:sldMkLst>
        <pc:spChg chg="mod">
          <ac:chgData name="Aurelien Domont" userId="6da7715ce44349b3" providerId="LiveId" clId="{2349E0AC-9333-4F13-B2C9-E74906101359}" dt="2022-01-25T06:58:58.632" v="5010" actId="20577"/>
          <ac:spMkLst>
            <pc:docMk/>
            <pc:sldMk cId="190418369" sldId="2382"/>
            <ac:spMk id="16" creationId="{6C2BB713-9637-4B9B-938F-E9768876782A}"/>
          </ac:spMkLst>
        </pc:spChg>
        <pc:spChg chg="mod">
          <ac:chgData name="Aurelien Domont" userId="6da7715ce44349b3" providerId="LiveId" clId="{2349E0AC-9333-4F13-B2C9-E74906101359}" dt="2022-01-25T06:58:44.340" v="5005" actId="108"/>
          <ac:spMkLst>
            <pc:docMk/>
            <pc:sldMk cId="190418369" sldId="2382"/>
            <ac:spMk id="19" creationId="{C6B0A235-8D38-48BD-BB48-D3B093522E12}"/>
          </ac:spMkLst>
        </pc:spChg>
        <pc:spChg chg="mod">
          <ac:chgData name="Aurelien Domont" userId="6da7715ce44349b3" providerId="LiveId" clId="{2349E0AC-9333-4F13-B2C9-E74906101359}" dt="2022-01-25T06:58:36.466" v="5002" actId="108"/>
          <ac:spMkLst>
            <pc:docMk/>
            <pc:sldMk cId="190418369" sldId="2382"/>
            <ac:spMk id="20" creationId="{E5DF333B-B5B6-40FB-A5EB-7865FFF91032}"/>
          </ac:spMkLst>
        </pc:spChg>
        <pc:spChg chg="mod">
          <ac:chgData name="Aurelien Domont" userId="6da7715ce44349b3" providerId="LiveId" clId="{2349E0AC-9333-4F13-B2C9-E74906101359}" dt="2022-03-16T03:53:11.955" v="5850"/>
          <ac:spMkLst>
            <pc:docMk/>
            <pc:sldMk cId="190418369" sldId="2382"/>
            <ac:spMk id="36" creationId="{9A0B9700-F8C0-4130-8B20-26605543B585}"/>
          </ac:spMkLst>
        </pc:spChg>
        <pc:spChg chg="mod">
          <ac:chgData name="Aurelien Domont" userId="6da7715ce44349b3" providerId="LiveId" clId="{2349E0AC-9333-4F13-B2C9-E74906101359}" dt="2022-01-25T06:58:53.248" v="5007" actId="108"/>
          <ac:spMkLst>
            <pc:docMk/>
            <pc:sldMk cId="190418369" sldId="2382"/>
            <ac:spMk id="38" creationId="{256AA621-C830-4910-BC98-FD7AEDE8D4AC}"/>
          </ac:spMkLst>
        </pc:spChg>
        <pc:spChg chg="mod">
          <ac:chgData name="Aurelien Domont" userId="6da7715ce44349b3" providerId="LiveId" clId="{2349E0AC-9333-4F13-B2C9-E74906101359}" dt="2022-03-16T03:53:15.758" v="5851"/>
          <ac:spMkLst>
            <pc:docMk/>
            <pc:sldMk cId="190418369" sldId="2382"/>
            <ac:spMk id="40" creationId="{C4DBD02F-1AC2-410A-B8BA-4994ED94E22E}"/>
          </ac:spMkLst>
        </pc:spChg>
        <pc:spChg chg="mod">
          <ac:chgData name="Aurelien Domont" userId="6da7715ce44349b3" providerId="LiveId" clId="{2349E0AC-9333-4F13-B2C9-E74906101359}" dt="2022-01-31T23:53:03.408" v="5688" actId="20577"/>
          <ac:spMkLst>
            <pc:docMk/>
            <pc:sldMk cId="190418369" sldId="2382"/>
            <ac:spMk id="42" creationId="{733D908A-0E75-4254-8596-437286C23099}"/>
          </ac:spMkLst>
        </pc:spChg>
        <pc:picChg chg="mod">
          <ac:chgData name="Aurelien Domont" userId="6da7715ce44349b3" providerId="LiveId" clId="{2349E0AC-9333-4F13-B2C9-E74906101359}" dt="2022-01-25T06:58:41.290" v="5004" actId="108"/>
          <ac:picMkLst>
            <pc:docMk/>
            <pc:sldMk cId="190418369" sldId="2382"/>
            <ac:picMk id="24" creationId="{47B17B6F-1789-4F49-8232-922C7B5339A9}"/>
          </ac:picMkLst>
        </pc:picChg>
        <pc:picChg chg="mod">
          <ac:chgData name="Aurelien Domont" userId="6da7715ce44349b3" providerId="LiveId" clId="{2349E0AC-9333-4F13-B2C9-E74906101359}" dt="2022-01-25T06:58:38.896" v="5003" actId="108"/>
          <ac:picMkLst>
            <pc:docMk/>
            <pc:sldMk cId="190418369" sldId="2382"/>
            <ac:picMk id="26" creationId="{20B3B453-6279-4C40-BCA1-A49FA9257F50}"/>
          </ac:picMkLst>
        </pc:picChg>
      </pc:sldChg>
      <pc:sldChg chg="addSp delSp modSp add del mod">
        <pc:chgData name="Aurelien Domont" userId="6da7715ce44349b3" providerId="LiveId" clId="{2349E0AC-9333-4F13-B2C9-E74906101359}" dt="2022-01-27T02:18:11.299" v="5505" actId="47"/>
        <pc:sldMkLst>
          <pc:docMk/>
          <pc:sldMk cId="3847058951" sldId="2383"/>
        </pc:sldMkLst>
        <pc:spChg chg="del mod">
          <ac:chgData name="Aurelien Domont" userId="6da7715ce44349b3" providerId="LiveId" clId="{2349E0AC-9333-4F13-B2C9-E74906101359}" dt="2022-01-27T02:12:29.526" v="5410" actId="478"/>
          <ac:spMkLst>
            <pc:docMk/>
            <pc:sldMk cId="3847058951" sldId="2383"/>
            <ac:spMk id="7" creationId="{6873D066-724E-4E57-89E0-1F7649425086}"/>
          </ac:spMkLst>
        </pc:spChg>
        <pc:spChg chg="add del mod">
          <ac:chgData name="Aurelien Domont" userId="6da7715ce44349b3" providerId="LiveId" clId="{2349E0AC-9333-4F13-B2C9-E74906101359}" dt="2022-01-27T02:12:45.752" v="5412"/>
          <ac:spMkLst>
            <pc:docMk/>
            <pc:sldMk cId="3847058951" sldId="2383"/>
            <ac:spMk id="11" creationId="{F216775D-83E5-4186-921A-A4A12171DF20}"/>
          </ac:spMkLst>
        </pc:spChg>
        <pc:spChg chg="add del mod">
          <ac:chgData name="Aurelien Domont" userId="6da7715ce44349b3" providerId="LiveId" clId="{2349E0AC-9333-4F13-B2C9-E74906101359}" dt="2022-01-27T02:12:45.752" v="5412"/>
          <ac:spMkLst>
            <pc:docMk/>
            <pc:sldMk cId="3847058951" sldId="2383"/>
            <ac:spMk id="12" creationId="{6E7E3D78-7BEE-456F-97F9-003927B3D42C}"/>
          </ac:spMkLst>
        </pc:spChg>
        <pc:spChg chg="add del mod">
          <ac:chgData name="Aurelien Domont" userId="6da7715ce44349b3" providerId="LiveId" clId="{2349E0AC-9333-4F13-B2C9-E74906101359}" dt="2022-01-27T02:12:45.752" v="5412"/>
          <ac:spMkLst>
            <pc:docMk/>
            <pc:sldMk cId="3847058951" sldId="2383"/>
            <ac:spMk id="14" creationId="{FCC415FF-E4CA-445F-997F-2D0CA3DBDCE3}"/>
          </ac:spMkLst>
        </pc:spChg>
        <pc:spChg chg="add del mod">
          <ac:chgData name="Aurelien Domont" userId="6da7715ce44349b3" providerId="LiveId" clId="{2349E0AC-9333-4F13-B2C9-E74906101359}" dt="2022-01-27T02:12:45.752" v="5412"/>
          <ac:spMkLst>
            <pc:docMk/>
            <pc:sldMk cId="3847058951" sldId="2383"/>
            <ac:spMk id="15" creationId="{E424BEF9-3A84-4250-809E-43F586EEE8E1}"/>
          </ac:spMkLst>
        </pc:spChg>
        <pc:spChg chg="mod">
          <ac:chgData name="Aurelien Domont" userId="6da7715ce44349b3" providerId="LiveId" clId="{2349E0AC-9333-4F13-B2C9-E74906101359}" dt="2022-01-27T02:12:21.798" v="5402" actId="20577"/>
          <ac:spMkLst>
            <pc:docMk/>
            <pc:sldMk cId="3847058951" sldId="2383"/>
            <ac:spMk id="16" creationId="{6C2BB713-9637-4B9B-938F-E9768876782A}"/>
          </ac:spMkLst>
        </pc:spChg>
        <pc:spChg chg="add del mod">
          <ac:chgData name="Aurelien Domont" userId="6da7715ce44349b3" providerId="LiveId" clId="{2349E0AC-9333-4F13-B2C9-E74906101359}" dt="2022-01-27T02:12:45.752" v="5412"/>
          <ac:spMkLst>
            <pc:docMk/>
            <pc:sldMk cId="3847058951" sldId="2383"/>
            <ac:spMk id="17" creationId="{1667F33B-4CE6-4F36-A5A6-9E052655DF51}"/>
          </ac:spMkLst>
        </pc:spChg>
        <pc:spChg chg="add del mod">
          <ac:chgData name="Aurelien Domont" userId="6da7715ce44349b3" providerId="LiveId" clId="{2349E0AC-9333-4F13-B2C9-E74906101359}" dt="2022-01-27T02:12:45.752" v="5412"/>
          <ac:spMkLst>
            <pc:docMk/>
            <pc:sldMk cId="3847058951" sldId="2383"/>
            <ac:spMk id="18" creationId="{77302C52-4D8E-426D-BB58-7ED4145B94B0}"/>
          </ac:spMkLst>
        </pc:spChg>
        <pc:spChg chg="add del mod">
          <ac:chgData name="Aurelien Domont" userId="6da7715ce44349b3" providerId="LiveId" clId="{2349E0AC-9333-4F13-B2C9-E74906101359}" dt="2022-01-27T02:12:45.752" v="5412"/>
          <ac:spMkLst>
            <pc:docMk/>
            <pc:sldMk cId="3847058951" sldId="2383"/>
            <ac:spMk id="19" creationId="{0A38B58E-3767-497A-9BAF-2107FDAE2956}"/>
          </ac:spMkLst>
        </pc:spChg>
        <pc:spChg chg="add del mod">
          <ac:chgData name="Aurelien Domont" userId="6da7715ce44349b3" providerId="LiveId" clId="{2349E0AC-9333-4F13-B2C9-E74906101359}" dt="2022-01-27T02:12:45.752" v="5412"/>
          <ac:spMkLst>
            <pc:docMk/>
            <pc:sldMk cId="3847058951" sldId="2383"/>
            <ac:spMk id="20" creationId="{ABABF935-8423-43EA-BBE1-9E721C41182F}"/>
          </ac:spMkLst>
        </pc:spChg>
        <pc:spChg chg="add del mod">
          <ac:chgData name="Aurelien Domont" userId="6da7715ce44349b3" providerId="LiveId" clId="{2349E0AC-9333-4F13-B2C9-E74906101359}" dt="2022-01-27T02:12:45.752" v="5412"/>
          <ac:spMkLst>
            <pc:docMk/>
            <pc:sldMk cId="3847058951" sldId="2383"/>
            <ac:spMk id="21" creationId="{A1E95D41-56C8-4D6B-925F-F2308D9575D2}"/>
          </ac:spMkLst>
        </pc:spChg>
        <pc:spChg chg="add del mod">
          <ac:chgData name="Aurelien Domont" userId="6da7715ce44349b3" providerId="LiveId" clId="{2349E0AC-9333-4F13-B2C9-E74906101359}" dt="2022-01-27T02:12:45.752" v="5412"/>
          <ac:spMkLst>
            <pc:docMk/>
            <pc:sldMk cId="3847058951" sldId="2383"/>
            <ac:spMk id="22" creationId="{3BEDC99A-14EA-45E7-8D73-7E4A2F081AD3}"/>
          </ac:spMkLst>
        </pc:spChg>
        <pc:spChg chg="add del mod">
          <ac:chgData name="Aurelien Domont" userId="6da7715ce44349b3" providerId="LiveId" clId="{2349E0AC-9333-4F13-B2C9-E74906101359}" dt="2022-01-27T02:12:45.752" v="5412"/>
          <ac:spMkLst>
            <pc:docMk/>
            <pc:sldMk cId="3847058951" sldId="2383"/>
            <ac:spMk id="23" creationId="{D1334AA0-6218-43D6-97D6-245DA4B8FA39}"/>
          </ac:spMkLst>
        </pc:spChg>
        <pc:spChg chg="add del mod">
          <ac:chgData name="Aurelien Domont" userId="6da7715ce44349b3" providerId="LiveId" clId="{2349E0AC-9333-4F13-B2C9-E74906101359}" dt="2022-01-27T02:12:45.752" v="5412"/>
          <ac:spMkLst>
            <pc:docMk/>
            <pc:sldMk cId="3847058951" sldId="2383"/>
            <ac:spMk id="24" creationId="{7CD187B4-1C6E-47DD-8C19-5A958E5AC62B}"/>
          </ac:spMkLst>
        </pc:spChg>
        <pc:spChg chg="add del mod">
          <ac:chgData name="Aurelien Domont" userId="6da7715ce44349b3" providerId="LiveId" clId="{2349E0AC-9333-4F13-B2C9-E74906101359}" dt="2022-01-27T02:12:45.752" v="5412"/>
          <ac:spMkLst>
            <pc:docMk/>
            <pc:sldMk cId="3847058951" sldId="2383"/>
            <ac:spMk id="25" creationId="{77590C82-5B3B-40C4-BEFD-BC766813A53D}"/>
          </ac:spMkLst>
        </pc:spChg>
        <pc:spChg chg="add del mod">
          <ac:chgData name="Aurelien Domont" userId="6da7715ce44349b3" providerId="LiveId" clId="{2349E0AC-9333-4F13-B2C9-E74906101359}" dt="2022-01-27T02:12:45.752" v="5412"/>
          <ac:spMkLst>
            <pc:docMk/>
            <pc:sldMk cId="3847058951" sldId="2383"/>
            <ac:spMk id="26" creationId="{835213A7-0B36-4BD0-ABF9-1124A549D7E4}"/>
          </ac:spMkLst>
        </pc:spChg>
        <pc:spChg chg="add del mod">
          <ac:chgData name="Aurelien Domont" userId="6da7715ce44349b3" providerId="LiveId" clId="{2349E0AC-9333-4F13-B2C9-E74906101359}" dt="2022-01-27T02:12:45.752" v="5412"/>
          <ac:spMkLst>
            <pc:docMk/>
            <pc:sldMk cId="3847058951" sldId="2383"/>
            <ac:spMk id="27" creationId="{975B941E-92CE-4516-829F-FDB93AF0ACDF}"/>
          </ac:spMkLst>
        </pc:spChg>
        <pc:spChg chg="add del mod">
          <ac:chgData name="Aurelien Domont" userId="6da7715ce44349b3" providerId="LiveId" clId="{2349E0AC-9333-4F13-B2C9-E74906101359}" dt="2022-01-27T02:12:45.752" v="5412"/>
          <ac:spMkLst>
            <pc:docMk/>
            <pc:sldMk cId="3847058951" sldId="2383"/>
            <ac:spMk id="28" creationId="{575310D5-2112-4DF8-BCA6-7E722CEFC86E}"/>
          </ac:spMkLst>
        </pc:spChg>
        <pc:spChg chg="add del mod">
          <ac:chgData name="Aurelien Domont" userId="6da7715ce44349b3" providerId="LiveId" clId="{2349E0AC-9333-4F13-B2C9-E74906101359}" dt="2022-01-27T02:12:45.752" v="5412"/>
          <ac:spMkLst>
            <pc:docMk/>
            <pc:sldMk cId="3847058951" sldId="2383"/>
            <ac:spMk id="29" creationId="{52874CE3-9697-46F8-B640-7924DE65CE29}"/>
          </ac:spMkLst>
        </pc:spChg>
        <pc:spChg chg="add del mod">
          <ac:chgData name="Aurelien Domont" userId="6da7715ce44349b3" providerId="LiveId" clId="{2349E0AC-9333-4F13-B2C9-E74906101359}" dt="2022-01-27T02:12:45.752" v="5412"/>
          <ac:spMkLst>
            <pc:docMk/>
            <pc:sldMk cId="3847058951" sldId="2383"/>
            <ac:spMk id="30" creationId="{C33041E0-E811-42A1-950F-12A433501F1D}"/>
          </ac:spMkLst>
        </pc:spChg>
        <pc:spChg chg="add del mod">
          <ac:chgData name="Aurelien Domont" userId="6da7715ce44349b3" providerId="LiveId" clId="{2349E0AC-9333-4F13-B2C9-E74906101359}" dt="2022-01-27T02:12:45.752" v="5412"/>
          <ac:spMkLst>
            <pc:docMk/>
            <pc:sldMk cId="3847058951" sldId="2383"/>
            <ac:spMk id="31" creationId="{AD4EBDCE-6305-4214-9CD3-69764E2917EF}"/>
          </ac:spMkLst>
        </pc:spChg>
        <pc:spChg chg="add del mod">
          <ac:chgData name="Aurelien Domont" userId="6da7715ce44349b3" providerId="LiveId" clId="{2349E0AC-9333-4F13-B2C9-E74906101359}" dt="2022-01-27T02:12:45.752" v="5412"/>
          <ac:spMkLst>
            <pc:docMk/>
            <pc:sldMk cId="3847058951" sldId="2383"/>
            <ac:spMk id="32" creationId="{1BF67A7B-4E5F-405A-A3AB-08A8B2FD0796}"/>
          </ac:spMkLst>
        </pc:spChg>
        <pc:spChg chg="add del mod">
          <ac:chgData name="Aurelien Domont" userId="6da7715ce44349b3" providerId="LiveId" clId="{2349E0AC-9333-4F13-B2C9-E74906101359}" dt="2022-01-27T02:12:53.495" v="5414"/>
          <ac:spMkLst>
            <pc:docMk/>
            <pc:sldMk cId="3847058951" sldId="2383"/>
            <ac:spMk id="33" creationId="{6EE4EF0A-8721-4BF3-BC45-7CE18CECE1CC}"/>
          </ac:spMkLst>
        </pc:spChg>
        <pc:spChg chg="add del mod">
          <ac:chgData name="Aurelien Domont" userId="6da7715ce44349b3" providerId="LiveId" clId="{2349E0AC-9333-4F13-B2C9-E74906101359}" dt="2022-01-27T02:12:53.495" v="5414"/>
          <ac:spMkLst>
            <pc:docMk/>
            <pc:sldMk cId="3847058951" sldId="2383"/>
            <ac:spMk id="34" creationId="{8EDFCA48-17D8-451B-A2A3-CB5E47E6A8E2}"/>
          </ac:spMkLst>
        </pc:spChg>
        <pc:spChg chg="add del mod">
          <ac:chgData name="Aurelien Domont" userId="6da7715ce44349b3" providerId="LiveId" clId="{2349E0AC-9333-4F13-B2C9-E74906101359}" dt="2022-01-27T02:12:53.495" v="5414"/>
          <ac:spMkLst>
            <pc:docMk/>
            <pc:sldMk cId="3847058951" sldId="2383"/>
            <ac:spMk id="35" creationId="{8EC2E8F4-6139-49EB-B3FA-C38B2C4423EC}"/>
          </ac:spMkLst>
        </pc:spChg>
        <pc:spChg chg="add del mod">
          <ac:chgData name="Aurelien Domont" userId="6da7715ce44349b3" providerId="LiveId" clId="{2349E0AC-9333-4F13-B2C9-E74906101359}" dt="2022-01-27T02:12:53.495" v="5414"/>
          <ac:spMkLst>
            <pc:docMk/>
            <pc:sldMk cId="3847058951" sldId="2383"/>
            <ac:spMk id="36" creationId="{7D12418B-26EF-47E1-8B4F-9015E50A66A7}"/>
          </ac:spMkLst>
        </pc:spChg>
        <pc:spChg chg="add del mod topLvl">
          <ac:chgData name="Aurelien Domont" userId="6da7715ce44349b3" providerId="LiveId" clId="{2349E0AC-9333-4F13-B2C9-E74906101359}" dt="2022-01-27T02:15:02.026" v="5438" actId="478"/>
          <ac:spMkLst>
            <pc:docMk/>
            <pc:sldMk cId="3847058951" sldId="2383"/>
            <ac:spMk id="41" creationId="{85030DFB-7B8D-4F60-9551-BD09BBFCF643}"/>
          </ac:spMkLst>
        </pc:spChg>
        <pc:spChg chg="add del mod topLvl">
          <ac:chgData name="Aurelien Domont" userId="6da7715ce44349b3" providerId="LiveId" clId="{2349E0AC-9333-4F13-B2C9-E74906101359}" dt="2022-01-27T02:15:02.026" v="5438" actId="478"/>
          <ac:spMkLst>
            <pc:docMk/>
            <pc:sldMk cId="3847058951" sldId="2383"/>
            <ac:spMk id="42" creationId="{3143A6A0-438D-4CFF-8372-CD32C3C15B2F}"/>
          </ac:spMkLst>
        </pc:spChg>
        <pc:spChg chg="add del mod topLvl">
          <ac:chgData name="Aurelien Domont" userId="6da7715ce44349b3" providerId="LiveId" clId="{2349E0AC-9333-4F13-B2C9-E74906101359}" dt="2022-01-27T02:15:02.026" v="5438" actId="478"/>
          <ac:spMkLst>
            <pc:docMk/>
            <pc:sldMk cId="3847058951" sldId="2383"/>
            <ac:spMk id="43" creationId="{318E7036-D81E-4F6B-84C5-46A4027EBF65}"/>
          </ac:spMkLst>
        </pc:spChg>
        <pc:spChg chg="add del mod topLvl">
          <ac:chgData name="Aurelien Domont" userId="6da7715ce44349b3" providerId="LiveId" clId="{2349E0AC-9333-4F13-B2C9-E74906101359}" dt="2022-01-27T02:15:02.026" v="5438" actId="478"/>
          <ac:spMkLst>
            <pc:docMk/>
            <pc:sldMk cId="3847058951" sldId="2383"/>
            <ac:spMk id="44" creationId="{E4C23B9C-F9A9-4BE4-AE9B-B500D36503E7}"/>
          </ac:spMkLst>
        </pc:spChg>
        <pc:spChg chg="add del mod topLvl">
          <ac:chgData name="Aurelien Domont" userId="6da7715ce44349b3" providerId="LiveId" clId="{2349E0AC-9333-4F13-B2C9-E74906101359}" dt="2022-01-27T02:13:59.962" v="5428" actId="478"/>
          <ac:spMkLst>
            <pc:docMk/>
            <pc:sldMk cId="3847058951" sldId="2383"/>
            <ac:spMk id="45" creationId="{D72A582E-4966-49A7-9E58-0AE2B3DB2E0B}"/>
          </ac:spMkLst>
        </pc:spChg>
        <pc:spChg chg="add del mod topLvl">
          <ac:chgData name="Aurelien Domont" userId="6da7715ce44349b3" providerId="LiveId" clId="{2349E0AC-9333-4F13-B2C9-E74906101359}" dt="2022-01-27T02:13:59.962" v="5428" actId="478"/>
          <ac:spMkLst>
            <pc:docMk/>
            <pc:sldMk cId="3847058951" sldId="2383"/>
            <ac:spMk id="46" creationId="{198ED81A-FFE7-4798-8FE1-2CA8D4BDEF74}"/>
          </ac:spMkLst>
        </pc:spChg>
        <pc:spChg chg="add del mod topLvl">
          <ac:chgData name="Aurelien Domont" userId="6da7715ce44349b3" providerId="LiveId" clId="{2349E0AC-9333-4F13-B2C9-E74906101359}" dt="2022-01-27T02:13:59.962" v="5428" actId="478"/>
          <ac:spMkLst>
            <pc:docMk/>
            <pc:sldMk cId="3847058951" sldId="2383"/>
            <ac:spMk id="47" creationId="{166CD1CC-8DB9-4AD4-870E-FF422C28652D}"/>
          </ac:spMkLst>
        </pc:spChg>
        <pc:spChg chg="add del mod topLvl">
          <ac:chgData name="Aurelien Domont" userId="6da7715ce44349b3" providerId="LiveId" clId="{2349E0AC-9333-4F13-B2C9-E74906101359}" dt="2022-01-27T02:13:59.962" v="5428" actId="478"/>
          <ac:spMkLst>
            <pc:docMk/>
            <pc:sldMk cId="3847058951" sldId="2383"/>
            <ac:spMk id="48" creationId="{A75BBA79-CC8B-4904-ADAA-8F315C631281}"/>
          </ac:spMkLst>
        </pc:spChg>
        <pc:spChg chg="add del mod topLvl">
          <ac:chgData name="Aurelien Domont" userId="6da7715ce44349b3" providerId="LiveId" clId="{2349E0AC-9333-4F13-B2C9-E74906101359}" dt="2022-01-27T02:13:59.962" v="5428" actId="478"/>
          <ac:spMkLst>
            <pc:docMk/>
            <pc:sldMk cId="3847058951" sldId="2383"/>
            <ac:spMk id="49" creationId="{4E5209FE-D9D2-41C9-A6A8-295494A82A0B}"/>
          </ac:spMkLst>
        </pc:spChg>
        <pc:spChg chg="add del mod topLvl">
          <ac:chgData name="Aurelien Domont" userId="6da7715ce44349b3" providerId="LiveId" clId="{2349E0AC-9333-4F13-B2C9-E74906101359}" dt="2022-01-27T02:13:59.962" v="5428" actId="478"/>
          <ac:spMkLst>
            <pc:docMk/>
            <pc:sldMk cId="3847058951" sldId="2383"/>
            <ac:spMk id="50" creationId="{91AE2E49-F6E4-4AB2-BD7A-A2A1DCBDB4D7}"/>
          </ac:spMkLst>
        </pc:spChg>
        <pc:spChg chg="add del mod topLvl">
          <ac:chgData name="Aurelien Domont" userId="6da7715ce44349b3" providerId="LiveId" clId="{2349E0AC-9333-4F13-B2C9-E74906101359}" dt="2022-01-27T02:13:59.962" v="5428" actId="478"/>
          <ac:spMkLst>
            <pc:docMk/>
            <pc:sldMk cId="3847058951" sldId="2383"/>
            <ac:spMk id="51" creationId="{B579CCDE-8892-4ED7-B5F5-5F6D4252C06E}"/>
          </ac:spMkLst>
        </pc:spChg>
        <pc:spChg chg="add del mod topLvl">
          <ac:chgData name="Aurelien Domont" userId="6da7715ce44349b3" providerId="LiveId" clId="{2349E0AC-9333-4F13-B2C9-E74906101359}" dt="2022-01-27T02:13:59.962" v="5428" actId="478"/>
          <ac:spMkLst>
            <pc:docMk/>
            <pc:sldMk cId="3847058951" sldId="2383"/>
            <ac:spMk id="52" creationId="{B0179134-919C-4AC9-8C1E-540FADDA3E79}"/>
          </ac:spMkLst>
        </pc:spChg>
        <pc:spChg chg="add del mod topLvl">
          <ac:chgData name="Aurelien Domont" userId="6da7715ce44349b3" providerId="LiveId" clId="{2349E0AC-9333-4F13-B2C9-E74906101359}" dt="2022-01-27T02:15:02.026" v="5438" actId="478"/>
          <ac:spMkLst>
            <pc:docMk/>
            <pc:sldMk cId="3847058951" sldId="2383"/>
            <ac:spMk id="53" creationId="{4B32A3F5-41FC-472E-BF09-111D4D57BD25}"/>
          </ac:spMkLst>
        </pc:spChg>
        <pc:spChg chg="add del mod topLvl">
          <ac:chgData name="Aurelien Domont" userId="6da7715ce44349b3" providerId="LiveId" clId="{2349E0AC-9333-4F13-B2C9-E74906101359}" dt="2022-01-27T02:15:02.026" v="5438" actId="478"/>
          <ac:spMkLst>
            <pc:docMk/>
            <pc:sldMk cId="3847058951" sldId="2383"/>
            <ac:spMk id="54" creationId="{4F9D452D-9C9D-46BB-A374-989BEB35480E}"/>
          </ac:spMkLst>
        </pc:spChg>
        <pc:spChg chg="add del mod topLvl">
          <ac:chgData name="Aurelien Domont" userId="6da7715ce44349b3" providerId="LiveId" clId="{2349E0AC-9333-4F13-B2C9-E74906101359}" dt="2022-01-27T02:15:02.026" v="5438" actId="478"/>
          <ac:spMkLst>
            <pc:docMk/>
            <pc:sldMk cId="3847058951" sldId="2383"/>
            <ac:spMk id="55" creationId="{9A8804DF-60F0-4578-B76E-5EC64BBD86CD}"/>
          </ac:spMkLst>
        </pc:spChg>
        <pc:spChg chg="add del mod topLvl">
          <ac:chgData name="Aurelien Domont" userId="6da7715ce44349b3" providerId="LiveId" clId="{2349E0AC-9333-4F13-B2C9-E74906101359}" dt="2022-01-27T02:15:02.026" v="5438" actId="478"/>
          <ac:spMkLst>
            <pc:docMk/>
            <pc:sldMk cId="3847058951" sldId="2383"/>
            <ac:spMk id="56" creationId="{5E7E52C7-30FE-4E13-9FF0-BC693052D170}"/>
          </ac:spMkLst>
        </pc:spChg>
        <pc:spChg chg="add del mod topLvl">
          <ac:chgData name="Aurelien Domont" userId="6da7715ce44349b3" providerId="LiveId" clId="{2349E0AC-9333-4F13-B2C9-E74906101359}" dt="2022-01-27T02:15:02.026" v="5438" actId="478"/>
          <ac:spMkLst>
            <pc:docMk/>
            <pc:sldMk cId="3847058951" sldId="2383"/>
            <ac:spMk id="57" creationId="{C01EFBBE-1667-46ED-A7CE-7564A2EE59BF}"/>
          </ac:spMkLst>
        </pc:spChg>
        <pc:spChg chg="add del mod topLvl">
          <ac:chgData name="Aurelien Domont" userId="6da7715ce44349b3" providerId="LiveId" clId="{2349E0AC-9333-4F13-B2C9-E74906101359}" dt="2022-01-27T02:15:02.026" v="5438" actId="478"/>
          <ac:spMkLst>
            <pc:docMk/>
            <pc:sldMk cId="3847058951" sldId="2383"/>
            <ac:spMk id="58" creationId="{4518FEA9-0443-43CE-9301-36E929386C5A}"/>
          </ac:spMkLst>
        </pc:spChg>
        <pc:spChg chg="add del mod topLvl">
          <ac:chgData name="Aurelien Domont" userId="6da7715ce44349b3" providerId="LiveId" clId="{2349E0AC-9333-4F13-B2C9-E74906101359}" dt="2022-01-27T02:15:02.026" v="5438" actId="478"/>
          <ac:spMkLst>
            <pc:docMk/>
            <pc:sldMk cId="3847058951" sldId="2383"/>
            <ac:spMk id="59" creationId="{CBB139A1-21AD-4420-AF77-BEB4CFE03795}"/>
          </ac:spMkLst>
        </pc:spChg>
        <pc:spChg chg="add del mod topLvl">
          <ac:chgData name="Aurelien Domont" userId="6da7715ce44349b3" providerId="LiveId" clId="{2349E0AC-9333-4F13-B2C9-E74906101359}" dt="2022-01-27T02:15:02.026" v="5438" actId="478"/>
          <ac:spMkLst>
            <pc:docMk/>
            <pc:sldMk cId="3847058951" sldId="2383"/>
            <ac:spMk id="60" creationId="{E8D78D66-C74A-49DF-B5CE-E2489FDAFBA0}"/>
          </ac:spMkLst>
        </pc:spChg>
        <pc:spChg chg="add mod topLvl">
          <ac:chgData name="Aurelien Domont" userId="6da7715ce44349b3" providerId="LiveId" clId="{2349E0AC-9333-4F13-B2C9-E74906101359}" dt="2022-01-27T02:16:29.323" v="5479" actId="207"/>
          <ac:spMkLst>
            <pc:docMk/>
            <pc:sldMk cId="3847058951" sldId="2383"/>
            <ac:spMk id="61" creationId="{CC7660AE-1F20-463A-8717-87D5A7A260F9}"/>
          </ac:spMkLst>
        </pc:spChg>
        <pc:spChg chg="add mod topLvl">
          <ac:chgData name="Aurelien Domont" userId="6da7715ce44349b3" providerId="LiveId" clId="{2349E0AC-9333-4F13-B2C9-E74906101359}" dt="2022-01-27T02:17:14.279" v="5500" actId="1076"/>
          <ac:spMkLst>
            <pc:docMk/>
            <pc:sldMk cId="3847058951" sldId="2383"/>
            <ac:spMk id="62" creationId="{EBDCDE48-0A8A-4A17-958B-0E95A1CE6469}"/>
          </ac:spMkLst>
        </pc:spChg>
        <pc:spChg chg="add mod topLvl">
          <ac:chgData name="Aurelien Domont" userId="6da7715ce44349b3" providerId="LiveId" clId="{2349E0AC-9333-4F13-B2C9-E74906101359}" dt="2022-01-27T02:16:26.108" v="5478" actId="207"/>
          <ac:spMkLst>
            <pc:docMk/>
            <pc:sldMk cId="3847058951" sldId="2383"/>
            <ac:spMk id="63" creationId="{935F69A5-D14F-4621-A746-09C0FC0E97C0}"/>
          </ac:spMkLst>
        </pc:spChg>
        <pc:spChg chg="add mod topLvl">
          <ac:chgData name="Aurelien Domont" userId="6da7715ce44349b3" providerId="LiveId" clId="{2349E0AC-9333-4F13-B2C9-E74906101359}" dt="2022-01-27T02:15:43.265" v="5473" actId="165"/>
          <ac:spMkLst>
            <pc:docMk/>
            <pc:sldMk cId="3847058951" sldId="2383"/>
            <ac:spMk id="64" creationId="{DD43FB88-208E-40AF-8181-DEBF5069AFD9}"/>
          </ac:spMkLst>
        </pc:spChg>
        <pc:spChg chg="add mod topLvl">
          <ac:chgData name="Aurelien Domont" userId="6da7715ce44349b3" providerId="LiveId" clId="{2349E0AC-9333-4F13-B2C9-E74906101359}" dt="2022-01-27T02:16:07.155" v="5475" actId="108"/>
          <ac:spMkLst>
            <pc:docMk/>
            <pc:sldMk cId="3847058951" sldId="2383"/>
            <ac:spMk id="65" creationId="{82666A47-DA3B-46F4-9A0D-ECA3675D68D1}"/>
          </ac:spMkLst>
        </pc:spChg>
        <pc:spChg chg="add mod topLvl">
          <ac:chgData name="Aurelien Domont" userId="6da7715ce44349b3" providerId="LiveId" clId="{2349E0AC-9333-4F13-B2C9-E74906101359}" dt="2022-01-27T02:15:47.205" v="5474" actId="108"/>
          <ac:spMkLst>
            <pc:docMk/>
            <pc:sldMk cId="3847058951" sldId="2383"/>
            <ac:spMk id="66" creationId="{85B32315-D9BA-409A-8EFE-3E95B88C8023}"/>
          </ac:spMkLst>
        </pc:spChg>
        <pc:spChg chg="add mod topLvl">
          <ac:chgData name="Aurelien Domont" userId="6da7715ce44349b3" providerId="LiveId" clId="{2349E0AC-9333-4F13-B2C9-E74906101359}" dt="2022-01-27T02:15:43.265" v="5473" actId="165"/>
          <ac:spMkLst>
            <pc:docMk/>
            <pc:sldMk cId="3847058951" sldId="2383"/>
            <ac:spMk id="67" creationId="{91922E6F-ECA7-497B-9601-A002C5698F44}"/>
          </ac:spMkLst>
        </pc:spChg>
        <pc:spChg chg="add mod topLvl">
          <ac:chgData name="Aurelien Domont" userId="6da7715ce44349b3" providerId="LiveId" clId="{2349E0AC-9333-4F13-B2C9-E74906101359}" dt="2022-01-27T02:16:18.616" v="5477" actId="108"/>
          <ac:spMkLst>
            <pc:docMk/>
            <pc:sldMk cId="3847058951" sldId="2383"/>
            <ac:spMk id="68" creationId="{BB54A3A5-B830-4E1E-9AEF-7B4F13C461A2}"/>
          </ac:spMkLst>
        </pc:spChg>
        <pc:spChg chg="add mod topLvl">
          <ac:chgData name="Aurelien Domont" userId="6da7715ce44349b3" providerId="LiveId" clId="{2349E0AC-9333-4F13-B2C9-E74906101359}" dt="2022-01-27T02:16:15.720" v="5476" actId="108"/>
          <ac:spMkLst>
            <pc:docMk/>
            <pc:sldMk cId="3847058951" sldId="2383"/>
            <ac:spMk id="69" creationId="{919DDDB6-758F-43A4-8B25-9EAE2ECF6BF9}"/>
          </ac:spMkLst>
        </pc:spChg>
        <pc:spChg chg="add mod topLvl">
          <ac:chgData name="Aurelien Domont" userId="6da7715ce44349b3" providerId="LiveId" clId="{2349E0AC-9333-4F13-B2C9-E74906101359}" dt="2022-01-27T02:15:43.265" v="5473" actId="165"/>
          <ac:spMkLst>
            <pc:docMk/>
            <pc:sldMk cId="3847058951" sldId="2383"/>
            <ac:spMk id="70" creationId="{CA3101F4-3307-42EC-9E83-311BE8853FC4}"/>
          </ac:spMkLst>
        </pc:spChg>
        <pc:spChg chg="add mod topLvl">
          <ac:chgData name="Aurelien Domont" userId="6da7715ce44349b3" providerId="LiveId" clId="{2349E0AC-9333-4F13-B2C9-E74906101359}" dt="2022-01-27T02:17:52.604" v="5504" actId="207"/>
          <ac:spMkLst>
            <pc:docMk/>
            <pc:sldMk cId="3847058951" sldId="2383"/>
            <ac:spMk id="71" creationId="{89624BB8-DC11-48DF-9098-48F1A3768F6F}"/>
          </ac:spMkLst>
        </pc:spChg>
        <pc:spChg chg="add del mod topLvl">
          <ac:chgData name="Aurelien Domont" userId="6da7715ce44349b3" providerId="LiveId" clId="{2349E0AC-9333-4F13-B2C9-E74906101359}" dt="2022-01-27T02:16:42.467" v="5482" actId="478"/>
          <ac:spMkLst>
            <pc:docMk/>
            <pc:sldMk cId="3847058951" sldId="2383"/>
            <ac:spMk id="72" creationId="{5367E08F-D447-4154-BDFC-DFF11DB45667}"/>
          </ac:spMkLst>
        </pc:spChg>
        <pc:spChg chg="add del mod topLvl">
          <ac:chgData name="Aurelien Domont" userId="6da7715ce44349b3" providerId="LiveId" clId="{2349E0AC-9333-4F13-B2C9-E74906101359}" dt="2022-01-27T02:17:34.204" v="5502" actId="478"/>
          <ac:spMkLst>
            <pc:docMk/>
            <pc:sldMk cId="3847058951" sldId="2383"/>
            <ac:spMk id="73" creationId="{07305462-CD8E-46C2-9705-075CE842D20D}"/>
          </ac:spMkLst>
        </pc:spChg>
        <pc:spChg chg="add del mod topLvl">
          <ac:chgData name="Aurelien Domont" userId="6da7715ce44349b3" providerId="LiveId" clId="{2349E0AC-9333-4F13-B2C9-E74906101359}" dt="2022-01-27T02:16:43.961" v="5483" actId="478"/>
          <ac:spMkLst>
            <pc:docMk/>
            <pc:sldMk cId="3847058951" sldId="2383"/>
            <ac:spMk id="74" creationId="{52C4C86E-32CC-47ED-9A87-A5E3A5B1E177}"/>
          </ac:spMkLst>
        </pc:spChg>
        <pc:spChg chg="add mod topLvl">
          <ac:chgData name="Aurelien Domont" userId="6da7715ce44349b3" providerId="LiveId" clId="{2349E0AC-9333-4F13-B2C9-E74906101359}" dt="2022-01-27T02:17:27.139" v="5501" actId="2711"/>
          <ac:spMkLst>
            <pc:docMk/>
            <pc:sldMk cId="3847058951" sldId="2383"/>
            <ac:spMk id="75" creationId="{2B22C1A8-0E32-44A9-87B1-77BF75540252}"/>
          </ac:spMkLst>
        </pc:spChg>
        <pc:spChg chg="add del mod topLvl">
          <ac:chgData name="Aurelien Domont" userId="6da7715ce44349b3" providerId="LiveId" clId="{2349E0AC-9333-4F13-B2C9-E74906101359}" dt="2022-01-27T02:16:40.432" v="5481" actId="478"/>
          <ac:spMkLst>
            <pc:docMk/>
            <pc:sldMk cId="3847058951" sldId="2383"/>
            <ac:spMk id="76" creationId="{9F7505F6-A90D-4043-B901-D95D96E44294}"/>
          </ac:spMkLst>
        </pc:spChg>
        <pc:spChg chg="add del mod topLvl">
          <ac:chgData name="Aurelien Domont" userId="6da7715ce44349b3" providerId="LiveId" clId="{2349E0AC-9333-4F13-B2C9-E74906101359}" dt="2022-01-27T02:17:34.204" v="5502" actId="478"/>
          <ac:spMkLst>
            <pc:docMk/>
            <pc:sldMk cId="3847058951" sldId="2383"/>
            <ac:spMk id="77" creationId="{46E3C479-0DCE-4C89-82C5-2F957EF65358}"/>
          </ac:spMkLst>
        </pc:spChg>
        <pc:grpChg chg="add del mod">
          <ac:chgData name="Aurelien Domont" userId="6da7715ce44349b3" providerId="LiveId" clId="{2349E0AC-9333-4F13-B2C9-E74906101359}" dt="2022-01-27T02:13:53.753" v="5427" actId="165"/>
          <ac:grpSpMkLst>
            <pc:docMk/>
            <pc:sldMk cId="3847058951" sldId="2383"/>
            <ac:grpSpMk id="2" creationId="{52E82A4C-42F3-4F69-83A7-4E4436F29FCB}"/>
          </ac:grpSpMkLst>
        </pc:grpChg>
        <pc:grpChg chg="add del mod">
          <ac:chgData name="Aurelien Domont" userId="6da7715ce44349b3" providerId="LiveId" clId="{2349E0AC-9333-4F13-B2C9-E74906101359}" dt="2022-01-27T02:15:43.265" v="5473" actId="165"/>
          <ac:grpSpMkLst>
            <pc:docMk/>
            <pc:sldMk cId="3847058951" sldId="2383"/>
            <ac:grpSpMk id="3" creationId="{B121827E-240A-48CC-8FFD-FECD7B830B16}"/>
          </ac:grpSpMkLst>
        </pc:grpChg>
        <pc:cxnChg chg="add del mod">
          <ac:chgData name="Aurelien Domont" userId="6da7715ce44349b3" providerId="LiveId" clId="{2349E0AC-9333-4F13-B2C9-E74906101359}" dt="2022-01-27T02:12:45.752" v="5412"/>
          <ac:cxnSpMkLst>
            <pc:docMk/>
            <pc:sldMk cId="3847058951" sldId="2383"/>
            <ac:cxnSpMk id="6" creationId="{5ADC978A-8CF9-4164-8A83-D04358C69874}"/>
          </ac:cxnSpMkLst>
        </pc:cxnChg>
        <pc:cxnChg chg="add del mod">
          <ac:chgData name="Aurelien Domont" userId="6da7715ce44349b3" providerId="LiveId" clId="{2349E0AC-9333-4F13-B2C9-E74906101359}" dt="2022-01-27T02:12:45.752" v="5412"/>
          <ac:cxnSpMkLst>
            <pc:docMk/>
            <pc:sldMk cId="3847058951" sldId="2383"/>
            <ac:cxnSpMk id="8" creationId="{66701872-827B-4E59-82DA-76B2A1963340}"/>
          </ac:cxnSpMkLst>
        </pc:cxnChg>
        <pc:cxnChg chg="add del mod">
          <ac:chgData name="Aurelien Domont" userId="6da7715ce44349b3" providerId="LiveId" clId="{2349E0AC-9333-4F13-B2C9-E74906101359}" dt="2022-01-27T02:12:45.752" v="5412"/>
          <ac:cxnSpMkLst>
            <pc:docMk/>
            <pc:sldMk cId="3847058951" sldId="2383"/>
            <ac:cxnSpMk id="9" creationId="{2D34F96F-EA7B-48E0-AF03-CE6640FAB46E}"/>
          </ac:cxnSpMkLst>
        </pc:cxnChg>
        <pc:cxnChg chg="add del mod">
          <ac:chgData name="Aurelien Domont" userId="6da7715ce44349b3" providerId="LiveId" clId="{2349E0AC-9333-4F13-B2C9-E74906101359}" dt="2022-01-27T02:12:45.752" v="5412"/>
          <ac:cxnSpMkLst>
            <pc:docMk/>
            <pc:sldMk cId="3847058951" sldId="2383"/>
            <ac:cxnSpMk id="10" creationId="{35EE1A94-BABE-40A9-9060-60A4DB370E49}"/>
          </ac:cxnSpMkLst>
        </pc:cxnChg>
        <pc:cxnChg chg="add del mod topLvl">
          <ac:chgData name="Aurelien Domont" userId="6da7715ce44349b3" providerId="LiveId" clId="{2349E0AC-9333-4F13-B2C9-E74906101359}" dt="2022-01-27T02:15:02.026" v="5438" actId="478"/>
          <ac:cxnSpMkLst>
            <pc:docMk/>
            <pc:sldMk cId="3847058951" sldId="2383"/>
            <ac:cxnSpMk id="37" creationId="{986A7649-3085-4BF8-B53C-6F7E8E4E9C74}"/>
          </ac:cxnSpMkLst>
        </pc:cxnChg>
        <pc:cxnChg chg="add del mod topLvl">
          <ac:chgData name="Aurelien Domont" userId="6da7715ce44349b3" providerId="LiveId" clId="{2349E0AC-9333-4F13-B2C9-E74906101359}" dt="2022-01-27T02:15:02.026" v="5438" actId="478"/>
          <ac:cxnSpMkLst>
            <pc:docMk/>
            <pc:sldMk cId="3847058951" sldId="2383"/>
            <ac:cxnSpMk id="38" creationId="{CE992742-6E9B-4389-A727-50D907F06563}"/>
          </ac:cxnSpMkLst>
        </pc:cxnChg>
        <pc:cxnChg chg="add del mod topLvl">
          <ac:chgData name="Aurelien Domont" userId="6da7715ce44349b3" providerId="LiveId" clId="{2349E0AC-9333-4F13-B2C9-E74906101359}" dt="2022-01-27T02:15:02.026" v="5438" actId="478"/>
          <ac:cxnSpMkLst>
            <pc:docMk/>
            <pc:sldMk cId="3847058951" sldId="2383"/>
            <ac:cxnSpMk id="39" creationId="{7ABA6485-B5E2-4919-8A14-3A2E69AE3D93}"/>
          </ac:cxnSpMkLst>
        </pc:cxnChg>
        <pc:cxnChg chg="add del mod topLvl">
          <ac:chgData name="Aurelien Domont" userId="6da7715ce44349b3" providerId="LiveId" clId="{2349E0AC-9333-4F13-B2C9-E74906101359}" dt="2022-01-27T02:15:02.026" v="5438" actId="478"/>
          <ac:cxnSpMkLst>
            <pc:docMk/>
            <pc:sldMk cId="3847058951" sldId="2383"/>
            <ac:cxnSpMk id="40" creationId="{3DCFBA2E-C400-400E-8625-F6E9BA12781C}"/>
          </ac:cxnSpMkLst>
        </pc:cxnChg>
      </pc:sldChg>
      <pc:sldChg chg="addSp modSp add mod">
        <pc:chgData name="Aurelien Domont" userId="6da7715ce44349b3" providerId="LiveId" clId="{2349E0AC-9333-4F13-B2C9-E74906101359}" dt="2022-03-16T03:47:39.160" v="5827"/>
        <pc:sldMkLst>
          <pc:docMk/>
          <pc:sldMk cId="280358564" sldId="2384"/>
        </pc:sldMkLst>
        <pc:spChg chg="add mod">
          <ac:chgData name="Aurelien Domont" userId="6da7715ce44349b3" providerId="LiveId" clId="{2349E0AC-9333-4F13-B2C9-E74906101359}" dt="2022-01-27T02:23:21.388" v="5622" actId="1038"/>
          <ac:spMkLst>
            <pc:docMk/>
            <pc:sldMk cId="280358564" sldId="2384"/>
            <ac:spMk id="17" creationId="{69A952A6-B724-4A16-B469-FC2404984233}"/>
          </ac:spMkLst>
        </pc:spChg>
        <pc:spChg chg="add mod">
          <ac:chgData name="Aurelien Domont" userId="6da7715ce44349b3" providerId="LiveId" clId="{2349E0AC-9333-4F13-B2C9-E74906101359}" dt="2022-01-27T02:19:58.748" v="5561" actId="113"/>
          <ac:spMkLst>
            <pc:docMk/>
            <pc:sldMk cId="280358564" sldId="2384"/>
            <ac:spMk id="18" creationId="{CBAC2C23-64A7-41EA-9EC2-3B2DD113A06E}"/>
          </ac:spMkLst>
        </pc:spChg>
        <pc:spChg chg="mod">
          <ac:chgData name="Aurelien Domont" userId="6da7715ce44349b3" providerId="LiveId" clId="{2349E0AC-9333-4F13-B2C9-E74906101359}" dt="2022-01-27T02:23:23.737" v="5624" actId="207"/>
          <ac:spMkLst>
            <pc:docMk/>
            <pc:sldMk cId="280358564" sldId="2384"/>
            <ac:spMk id="21" creationId="{94EE6C46-A7EC-4A98-BD0C-2B35608CC4AE}"/>
          </ac:spMkLst>
        </pc:spChg>
        <pc:spChg chg="mod">
          <ac:chgData name="Aurelien Domont" userId="6da7715ce44349b3" providerId="LiveId" clId="{2349E0AC-9333-4F13-B2C9-E74906101359}" dt="2022-01-27T02:23:23.737" v="5624" actId="207"/>
          <ac:spMkLst>
            <pc:docMk/>
            <pc:sldMk cId="280358564" sldId="2384"/>
            <ac:spMk id="22" creationId="{39B27148-455A-4033-9FD6-CB561E816339}"/>
          </ac:spMkLst>
        </pc:spChg>
        <pc:spChg chg="mod">
          <ac:chgData name="Aurelien Domont" userId="6da7715ce44349b3" providerId="LiveId" clId="{2349E0AC-9333-4F13-B2C9-E74906101359}" dt="2022-01-27T02:23:23.737" v="5624" actId="207"/>
          <ac:spMkLst>
            <pc:docMk/>
            <pc:sldMk cId="280358564" sldId="2384"/>
            <ac:spMk id="23" creationId="{18177024-FA35-415C-A5FE-53117D31B50B}"/>
          </ac:spMkLst>
        </pc:spChg>
        <pc:spChg chg="mod">
          <ac:chgData name="Aurelien Domont" userId="6da7715ce44349b3" providerId="LiveId" clId="{2349E0AC-9333-4F13-B2C9-E74906101359}" dt="2022-01-27T02:23:26.192" v="5626" actId="1076"/>
          <ac:spMkLst>
            <pc:docMk/>
            <pc:sldMk cId="280358564" sldId="2384"/>
            <ac:spMk id="61" creationId="{CC7660AE-1F20-463A-8717-87D5A7A260F9}"/>
          </ac:spMkLst>
        </pc:spChg>
        <pc:spChg chg="mod">
          <ac:chgData name="Aurelien Domont" userId="6da7715ce44349b3" providerId="LiveId" clId="{2349E0AC-9333-4F13-B2C9-E74906101359}" dt="2022-01-27T02:18:45.017" v="5510" actId="207"/>
          <ac:spMkLst>
            <pc:docMk/>
            <pc:sldMk cId="280358564" sldId="2384"/>
            <ac:spMk id="62" creationId="{EBDCDE48-0A8A-4A17-958B-0E95A1CE6469}"/>
          </ac:spMkLst>
        </pc:spChg>
        <pc:spChg chg="mod">
          <ac:chgData name="Aurelien Domont" userId="6da7715ce44349b3" providerId="LiveId" clId="{2349E0AC-9333-4F13-B2C9-E74906101359}" dt="2022-01-27T02:18:45.017" v="5510" actId="207"/>
          <ac:spMkLst>
            <pc:docMk/>
            <pc:sldMk cId="280358564" sldId="2384"/>
            <ac:spMk id="63" creationId="{935F69A5-D14F-4621-A746-09C0FC0E97C0}"/>
          </ac:spMkLst>
        </pc:spChg>
        <pc:spChg chg="mod">
          <ac:chgData name="Aurelien Domont" userId="6da7715ce44349b3" providerId="LiveId" clId="{2349E0AC-9333-4F13-B2C9-E74906101359}" dt="2022-03-16T03:47:39.160" v="5827"/>
          <ac:spMkLst>
            <pc:docMk/>
            <pc:sldMk cId="280358564" sldId="2384"/>
            <ac:spMk id="75" creationId="{2B22C1A8-0E32-44A9-87B1-77BF75540252}"/>
          </ac:spMkLst>
        </pc:spChg>
        <pc:grpChg chg="add mod">
          <ac:chgData name="Aurelien Domont" userId="6da7715ce44349b3" providerId="LiveId" clId="{2349E0AC-9333-4F13-B2C9-E74906101359}" dt="2022-01-27T02:24:29.500" v="5646" actId="1037"/>
          <ac:grpSpMkLst>
            <pc:docMk/>
            <pc:sldMk cId="280358564" sldId="2384"/>
            <ac:grpSpMk id="20" creationId="{EFC27684-24DD-4EF7-A811-23603155ACDC}"/>
          </ac:grpSpMkLst>
        </pc:grpChg>
        <pc:picChg chg="add mod">
          <ac:chgData name="Aurelien Domont" userId="6da7715ce44349b3" providerId="LiveId" clId="{2349E0AC-9333-4F13-B2C9-E74906101359}" dt="2022-01-27T02:24:22.072" v="5644" actId="1036"/>
          <ac:picMkLst>
            <pc:docMk/>
            <pc:sldMk cId="280358564" sldId="2384"/>
            <ac:picMk id="3" creationId="{A7D7D1CE-9D0B-4038-B672-3E626C00AF13}"/>
          </ac:picMkLst>
        </pc:picChg>
        <pc:picChg chg="add mod">
          <ac:chgData name="Aurelien Domont" userId="6da7715ce44349b3" providerId="LiveId" clId="{2349E0AC-9333-4F13-B2C9-E74906101359}" dt="2022-01-27T02:23:13.445" v="5609" actId="1037"/>
          <ac:picMkLst>
            <pc:docMk/>
            <pc:sldMk cId="280358564" sldId="2384"/>
            <ac:picMk id="19" creationId="{5A895BDE-C2BA-4D23-AD5D-C28471941652}"/>
          </ac:picMkLst>
        </pc:picChg>
      </pc:sldChg>
      <pc:sldChg chg="modSp add mod">
        <pc:chgData name="Aurelien Domont" userId="6da7715ce44349b3" providerId="LiveId" clId="{2349E0AC-9333-4F13-B2C9-E74906101359}" dt="2022-03-16T03:53:39.209" v="5853"/>
        <pc:sldMkLst>
          <pc:docMk/>
          <pc:sldMk cId="2286846326" sldId="2385"/>
        </pc:sldMkLst>
        <pc:spChg chg="mod">
          <ac:chgData name="Aurelien Domont" userId="6da7715ce44349b3" providerId="LiveId" clId="{2349E0AC-9333-4F13-B2C9-E74906101359}" dt="2022-02-01T00:13:44.846" v="5811" actId="20577"/>
          <ac:spMkLst>
            <pc:docMk/>
            <pc:sldMk cId="2286846326" sldId="2385"/>
            <ac:spMk id="16" creationId="{6C2BB713-9637-4B9B-938F-E9768876782A}"/>
          </ac:spMkLst>
        </pc:spChg>
        <pc:spChg chg="mod">
          <ac:chgData name="Aurelien Domont" userId="6da7715ce44349b3" providerId="LiveId" clId="{2349E0AC-9333-4F13-B2C9-E74906101359}" dt="2022-02-01T00:13:59.144" v="5815" actId="108"/>
          <ac:spMkLst>
            <pc:docMk/>
            <pc:sldMk cId="2286846326" sldId="2385"/>
            <ac:spMk id="20" creationId="{E5DF333B-B5B6-40FB-A5EB-7865FFF91032}"/>
          </ac:spMkLst>
        </pc:spChg>
        <pc:spChg chg="mod">
          <ac:chgData name="Aurelien Domont" userId="6da7715ce44349b3" providerId="LiveId" clId="{2349E0AC-9333-4F13-B2C9-E74906101359}" dt="2022-02-01T00:13:48.805" v="5812" actId="108"/>
          <ac:spMkLst>
            <pc:docMk/>
            <pc:sldMk cId="2286846326" sldId="2385"/>
            <ac:spMk id="22" creationId="{8CA4BF23-3B3A-495C-A217-38DE0724135E}"/>
          </ac:spMkLst>
        </pc:spChg>
        <pc:spChg chg="mod">
          <ac:chgData name="Aurelien Domont" userId="6da7715ce44349b3" providerId="LiveId" clId="{2349E0AC-9333-4F13-B2C9-E74906101359}" dt="2022-03-16T03:53:35.626" v="5852"/>
          <ac:spMkLst>
            <pc:docMk/>
            <pc:sldMk cId="2286846326" sldId="2385"/>
            <ac:spMk id="36" creationId="{9A0B9700-F8C0-4130-8B20-26605543B585}"/>
          </ac:spMkLst>
        </pc:spChg>
        <pc:spChg chg="mod">
          <ac:chgData name="Aurelien Domont" userId="6da7715ce44349b3" providerId="LiveId" clId="{2349E0AC-9333-4F13-B2C9-E74906101359}" dt="2022-03-16T03:53:39.209" v="5853"/>
          <ac:spMkLst>
            <pc:docMk/>
            <pc:sldMk cId="2286846326" sldId="2385"/>
            <ac:spMk id="40" creationId="{C4DBD02F-1AC2-410A-B8BA-4994ED94E22E}"/>
          </ac:spMkLst>
        </pc:spChg>
        <pc:spChg chg="mod">
          <ac:chgData name="Aurelien Domont" userId="6da7715ce44349b3" providerId="LiveId" clId="{2349E0AC-9333-4F13-B2C9-E74906101359}" dt="2022-02-01T00:13:52.072" v="5813" actId="108"/>
          <ac:spMkLst>
            <pc:docMk/>
            <pc:sldMk cId="2286846326" sldId="2385"/>
            <ac:spMk id="42" creationId="{733D908A-0E75-4254-8596-437286C23099}"/>
          </ac:spMkLst>
        </pc:spChg>
        <pc:picChg chg="mod">
          <ac:chgData name="Aurelien Domont" userId="6da7715ce44349b3" providerId="LiveId" clId="{2349E0AC-9333-4F13-B2C9-E74906101359}" dt="2022-02-01T00:14:50.796" v="5818" actId="108"/>
          <ac:picMkLst>
            <pc:docMk/>
            <pc:sldMk cId="2286846326" sldId="2385"/>
            <ac:picMk id="26" creationId="{20B3B453-6279-4C40-BCA1-A49FA9257F50}"/>
          </ac:picMkLst>
        </pc:picChg>
        <pc:picChg chg="mod">
          <ac:chgData name="Aurelien Domont" userId="6da7715ce44349b3" providerId="LiveId" clId="{2349E0AC-9333-4F13-B2C9-E74906101359}" dt="2022-02-01T00:14:47.492" v="5817" actId="108"/>
          <ac:picMkLst>
            <pc:docMk/>
            <pc:sldMk cId="2286846326" sldId="2385"/>
            <ac:picMk id="28" creationId="{8BA25537-5E67-4AFB-BB57-F7ECE0FD69FB}"/>
          </ac:picMkLst>
        </pc:picChg>
      </pc:sldChg>
      <pc:sldChg chg="add">
        <pc:chgData name="Aurelien Domont" userId="6da7715ce44349b3" providerId="LiveId" clId="{2349E0AC-9333-4F13-B2C9-E74906101359}" dt="2022-02-01T00:14:38.097" v="5816"/>
        <pc:sldMkLst>
          <pc:docMk/>
          <pc:sldMk cId="419877256" sldId="2398"/>
        </pc:sldMkLst>
      </pc:sldChg>
      <pc:sldChg chg="add">
        <pc:chgData name="Aurelien Domont" userId="6da7715ce44349b3" providerId="LiveId" clId="{2349E0AC-9333-4F13-B2C9-E74906101359}" dt="2022-02-01T00:14:38.097" v="5816"/>
        <pc:sldMkLst>
          <pc:docMk/>
          <pc:sldMk cId="3332575559" sldId="2399"/>
        </pc:sldMkLst>
      </pc:sldChg>
      <pc:sldChg chg="add">
        <pc:chgData name="Aurelien Domont" userId="6da7715ce44349b3" providerId="LiveId" clId="{2349E0AC-9333-4F13-B2C9-E74906101359}" dt="2022-02-01T00:14:38.097" v="5816"/>
        <pc:sldMkLst>
          <pc:docMk/>
          <pc:sldMk cId="4264333025" sldId="2400"/>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2/7/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2/7/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898983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041822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446861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2183210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377020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973345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936722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7537818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2229951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28303511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10910811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2665431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318314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004045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633678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31114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5427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57852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506878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32.png"/><Relationship Id="rId3" Type="http://schemas.openxmlformats.org/officeDocument/2006/relationships/notesSlide" Target="../notesSlides/notesSlide10.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3.xml"/><Relationship Id="rId16" Type="http://schemas.openxmlformats.org/officeDocument/2006/relationships/image" Target="../media/image51.png"/><Relationship Id="rId1" Type="http://schemas.openxmlformats.org/officeDocument/2006/relationships/tags" Target="../tags/tag115.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1.emf"/><Relationship Id="rId15" Type="http://schemas.openxmlformats.org/officeDocument/2006/relationships/image" Target="../media/image50.svg"/><Relationship Id="rId10" Type="http://schemas.openxmlformats.org/officeDocument/2006/relationships/image" Target="../media/image45.png"/><Relationship Id="rId19" Type="http://schemas.openxmlformats.org/officeDocument/2006/relationships/image" Target="../media/image33.svg"/><Relationship Id="rId4" Type="http://schemas.openxmlformats.org/officeDocument/2006/relationships/oleObject" Target="../embeddings/oleObject64.bin"/><Relationship Id="rId9" Type="http://schemas.openxmlformats.org/officeDocument/2006/relationships/image" Target="../media/image44.svg"/><Relationship Id="rId1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4.xml"/><Relationship Id="rId7"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ags" Target="../tags/tag125.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67.bin"/><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60.png"/><Relationship Id="rId3" Type="http://schemas.openxmlformats.org/officeDocument/2006/relationships/notesSlide" Target="../notesSlides/notesSlide15.xml"/><Relationship Id="rId7" Type="http://schemas.openxmlformats.org/officeDocument/2006/relationships/image" Target="../media/image57.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3.xml"/><Relationship Id="rId16" Type="http://schemas.openxmlformats.org/officeDocument/2006/relationships/image" Target="../media/image51.png"/><Relationship Id="rId1" Type="http://schemas.openxmlformats.org/officeDocument/2006/relationships/tags" Target="../tags/tag126.xml"/><Relationship Id="rId6" Type="http://schemas.openxmlformats.org/officeDocument/2006/relationships/image" Target="../media/image20.png"/><Relationship Id="rId11" Type="http://schemas.openxmlformats.org/officeDocument/2006/relationships/image" Target="../media/image59.svg"/><Relationship Id="rId5" Type="http://schemas.openxmlformats.org/officeDocument/2006/relationships/image" Target="../media/image1.emf"/><Relationship Id="rId15" Type="http://schemas.openxmlformats.org/officeDocument/2006/relationships/image" Target="../media/image50.svg"/><Relationship Id="rId10" Type="http://schemas.openxmlformats.org/officeDocument/2006/relationships/image" Target="../media/image45.png"/><Relationship Id="rId19" Type="http://schemas.openxmlformats.org/officeDocument/2006/relationships/image" Target="../media/image61.svg"/><Relationship Id="rId4" Type="http://schemas.openxmlformats.org/officeDocument/2006/relationships/oleObject" Target="../embeddings/oleObject64.bin"/><Relationship Id="rId9" Type="http://schemas.openxmlformats.org/officeDocument/2006/relationships/image" Target="../media/image58.sv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60.png"/><Relationship Id="rId3" Type="http://schemas.openxmlformats.org/officeDocument/2006/relationships/notesSlide" Target="../notesSlides/notesSlide16.xml"/><Relationship Id="rId7" Type="http://schemas.openxmlformats.org/officeDocument/2006/relationships/image" Target="../media/image6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3.xml"/><Relationship Id="rId16" Type="http://schemas.openxmlformats.org/officeDocument/2006/relationships/image" Target="../media/image51.png"/><Relationship Id="rId1" Type="http://schemas.openxmlformats.org/officeDocument/2006/relationships/tags" Target="../tags/tag130.xml"/><Relationship Id="rId6" Type="http://schemas.openxmlformats.org/officeDocument/2006/relationships/image" Target="../media/image41.png"/><Relationship Id="rId11" Type="http://schemas.openxmlformats.org/officeDocument/2006/relationships/image" Target="../media/image63.svg"/><Relationship Id="rId5" Type="http://schemas.openxmlformats.org/officeDocument/2006/relationships/image" Target="../media/image1.emf"/><Relationship Id="rId15" Type="http://schemas.openxmlformats.org/officeDocument/2006/relationships/image" Target="../media/image50.svg"/><Relationship Id="rId10" Type="http://schemas.openxmlformats.org/officeDocument/2006/relationships/image" Target="../media/image24.png"/><Relationship Id="rId19" Type="http://schemas.openxmlformats.org/officeDocument/2006/relationships/image" Target="../media/image61.svg"/><Relationship Id="rId4" Type="http://schemas.openxmlformats.org/officeDocument/2006/relationships/oleObject" Target="../embeddings/oleObject64.bin"/><Relationship Id="rId9" Type="http://schemas.openxmlformats.org/officeDocument/2006/relationships/image" Target="../media/image58.svg"/><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31.xml"/><Relationship Id="rId6" Type="http://schemas.openxmlformats.org/officeDocument/2006/relationships/image" Target="../media/image64.svg"/><Relationship Id="rId5" Type="http://schemas.openxmlformats.org/officeDocument/2006/relationships/image" Target="../media/image24.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32.xml"/><Relationship Id="rId6" Type="http://schemas.openxmlformats.org/officeDocument/2006/relationships/image" Target="../media/image64.svg"/><Relationship Id="rId5" Type="http://schemas.openxmlformats.org/officeDocument/2006/relationships/image" Target="../media/image24.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48.svg"/><Relationship Id="rId18" Type="http://schemas.openxmlformats.org/officeDocument/2006/relationships/image" Target="../media/image60.png"/><Relationship Id="rId3" Type="http://schemas.openxmlformats.org/officeDocument/2006/relationships/notesSlide" Target="../notesSlides/notesSlide17.xml"/><Relationship Id="rId7" Type="http://schemas.openxmlformats.org/officeDocument/2006/relationships/image" Target="../media/image6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3.xml"/><Relationship Id="rId16" Type="http://schemas.openxmlformats.org/officeDocument/2006/relationships/image" Target="../media/image51.png"/><Relationship Id="rId1" Type="http://schemas.openxmlformats.org/officeDocument/2006/relationships/tags" Target="../tags/tag133.xml"/><Relationship Id="rId6" Type="http://schemas.openxmlformats.org/officeDocument/2006/relationships/image" Target="../media/image41.png"/><Relationship Id="rId11" Type="http://schemas.openxmlformats.org/officeDocument/2006/relationships/image" Target="../media/image59.svg"/><Relationship Id="rId5" Type="http://schemas.openxmlformats.org/officeDocument/2006/relationships/image" Target="../media/image1.emf"/><Relationship Id="rId15" Type="http://schemas.openxmlformats.org/officeDocument/2006/relationships/image" Target="../media/image50.svg"/><Relationship Id="rId10" Type="http://schemas.openxmlformats.org/officeDocument/2006/relationships/image" Target="../media/image45.png"/><Relationship Id="rId19" Type="http://schemas.openxmlformats.org/officeDocument/2006/relationships/image" Target="../media/image61.svg"/><Relationship Id="rId4" Type="http://schemas.openxmlformats.org/officeDocument/2006/relationships/oleObject" Target="../embeddings/oleObject64.bin"/><Relationship Id="rId9" Type="http://schemas.openxmlformats.org/officeDocument/2006/relationships/image" Target="../media/image65.svg"/><Relationship Id="rId1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5.png"/><Relationship Id="rId2" Type="http://schemas.openxmlformats.org/officeDocument/2006/relationships/slideLayout" Target="../slideLayouts/slideLayout3.xml"/><Relationship Id="rId1" Type="http://schemas.openxmlformats.org/officeDocument/2006/relationships/tags" Target="../tags/tag134.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2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67.svg"/><Relationship Id="rId18" Type="http://schemas.openxmlformats.org/officeDocument/2006/relationships/image" Target="../media/image60.png"/><Relationship Id="rId3" Type="http://schemas.openxmlformats.org/officeDocument/2006/relationships/notesSlide" Target="../notesSlides/notesSlide19.xml"/><Relationship Id="rId7" Type="http://schemas.openxmlformats.org/officeDocument/2006/relationships/image" Target="../media/image62.svg"/><Relationship Id="rId12" Type="http://schemas.openxmlformats.org/officeDocument/2006/relationships/image" Target="../media/image26.png"/><Relationship Id="rId17" Type="http://schemas.openxmlformats.org/officeDocument/2006/relationships/image" Target="../media/image52.svg"/><Relationship Id="rId2" Type="http://schemas.openxmlformats.org/officeDocument/2006/relationships/slideLayout" Target="../slideLayouts/slideLayout3.xml"/><Relationship Id="rId16" Type="http://schemas.openxmlformats.org/officeDocument/2006/relationships/image" Target="../media/image51.png"/><Relationship Id="rId1" Type="http://schemas.openxmlformats.org/officeDocument/2006/relationships/tags" Target="../tags/tag135.xml"/><Relationship Id="rId6" Type="http://schemas.openxmlformats.org/officeDocument/2006/relationships/image" Target="../media/image41.png"/><Relationship Id="rId11" Type="http://schemas.openxmlformats.org/officeDocument/2006/relationships/image" Target="../media/image59.svg"/><Relationship Id="rId5" Type="http://schemas.openxmlformats.org/officeDocument/2006/relationships/image" Target="../media/image1.emf"/><Relationship Id="rId15" Type="http://schemas.openxmlformats.org/officeDocument/2006/relationships/image" Target="../media/image50.svg"/><Relationship Id="rId10" Type="http://schemas.openxmlformats.org/officeDocument/2006/relationships/image" Target="../media/image45.png"/><Relationship Id="rId19" Type="http://schemas.openxmlformats.org/officeDocument/2006/relationships/image" Target="../media/image61.svg"/><Relationship Id="rId4" Type="http://schemas.openxmlformats.org/officeDocument/2006/relationships/oleObject" Target="../embeddings/oleObject64.bin"/><Relationship Id="rId9" Type="http://schemas.openxmlformats.org/officeDocument/2006/relationships/image" Target="../media/image58.svg"/><Relationship Id="rId1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39.png"/><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0.xml"/><Relationship Id="rId7" Type="http://schemas.openxmlformats.org/officeDocument/2006/relationships/image" Target="../media/image39.png"/><Relationship Id="rId2" Type="http://schemas.openxmlformats.org/officeDocument/2006/relationships/slideLayout" Target="../slideLayouts/slideLayout3.xml"/><Relationship Id="rId1" Type="http://schemas.openxmlformats.org/officeDocument/2006/relationships/tags" Target="../tags/tag136.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71.bin"/><Relationship Id="rId9" Type="http://schemas.openxmlformats.org/officeDocument/2006/relationships/image" Target="../media/image70.svg"/></Relationships>
</file>

<file path=ppt/slides/_rels/slide32.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slideLayout" Target="../slideLayouts/slideLayout3.xml"/><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tags" Target="../tags/tag138.xml"/><Relationship Id="rId16" Type="http://schemas.openxmlformats.org/officeDocument/2006/relationships/image" Target="../media/image80.svg"/><Relationship Id="rId20" Type="http://schemas.openxmlformats.org/officeDocument/2006/relationships/image" Target="../media/image84.svg"/><Relationship Id="rId1" Type="http://schemas.openxmlformats.org/officeDocument/2006/relationships/tags" Target="../tags/tag137.xml"/><Relationship Id="rId6" Type="http://schemas.openxmlformats.org/officeDocument/2006/relationships/image" Target="../media/image1.emf"/><Relationship Id="rId11" Type="http://schemas.openxmlformats.org/officeDocument/2006/relationships/image" Target="../media/image75.png"/><Relationship Id="rId24" Type="http://schemas.openxmlformats.org/officeDocument/2006/relationships/image" Target="../media/image88.svg"/><Relationship Id="rId5" Type="http://schemas.openxmlformats.org/officeDocument/2006/relationships/oleObject" Target="../embeddings/oleObject72.bin"/><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image" Target="../media/image74.svg"/><Relationship Id="rId19" Type="http://schemas.openxmlformats.org/officeDocument/2006/relationships/image" Target="../media/image83.png"/><Relationship Id="rId4" Type="http://schemas.openxmlformats.org/officeDocument/2006/relationships/notesSlide" Target="../notesSlides/notesSlide21.xml"/><Relationship Id="rId9" Type="http://schemas.openxmlformats.org/officeDocument/2006/relationships/image" Target="../media/image73.png"/><Relationship Id="rId14" Type="http://schemas.openxmlformats.org/officeDocument/2006/relationships/image" Target="../media/image78.svg"/><Relationship Id="rId22" Type="http://schemas.openxmlformats.org/officeDocument/2006/relationships/image" Target="../media/image86.svg"/></Relationships>
</file>

<file path=ppt/slides/_rels/slide33.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89.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91.png"/><Relationship Id="rId2" Type="http://schemas.openxmlformats.org/officeDocument/2006/relationships/slideLayout" Target="../slideLayouts/slideLayout3.xml"/><Relationship Id="rId1" Type="http://schemas.openxmlformats.org/officeDocument/2006/relationships/tags" Target="../tags/tag139.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3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notesSlide" Target="../notesSlides/notesSlide23.xml"/><Relationship Id="rId9" Type="http://schemas.openxmlformats.org/officeDocument/2006/relationships/hyperlink" Target="https://www.domontconsulting.com/pages/full-access"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slideLayout" Target="../slideLayouts/slideLayout3.xml"/><Relationship Id="rId7" Type="http://schemas.openxmlformats.org/officeDocument/2006/relationships/hyperlink" Target="https://www.domontconsulting.com/pages/post-your-project" TargetMode="External"/><Relationship Id="rId12" Type="http://schemas.openxmlformats.org/officeDocument/2006/relationships/image" Target="../media/image97.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emf"/><Relationship Id="rId11" Type="http://schemas.openxmlformats.org/officeDocument/2006/relationships/image" Target="../media/image96.png"/><Relationship Id="rId5" Type="http://schemas.openxmlformats.org/officeDocument/2006/relationships/oleObject" Target="../embeddings/oleObject75.bin"/><Relationship Id="rId10" Type="http://schemas.openxmlformats.org/officeDocument/2006/relationships/image" Target="../media/image95.png"/><Relationship Id="rId4" Type="http://schemas.openxmlformats.org/officeDocument/2006/relationships/notesSlide" Target="../notesSlides/notesSlide24.xml"/><Relationship Id="rId9" Type="http://schemas.openxmlformats.org/officeDocument/2006/relationships/image" Target="../media/image94.png"/></Relationships>
</file>

<file path=ppt/slides/_rels/slide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25.xml"/><Relationship Id="rId9" Type="http://schemas.openxmlformats.org/officeDocument/2006/relationships/hyperlink" Target="http://www.domontconsulting.com/"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5.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1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 Id="rId1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7.xml"/><Relationship Id="rId7" Type="http://schemas.openxmlformats.org/officeDocument/2006/relationships/image" Target="../media/image17.sv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63.bin"/><Relationship Id="rId9" Type="http://schemas.openxmlformats.org/officeDocument/2006/relationships/image" Target="../media/image19.sv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notesSlide" Target="../notesSlides/notesSlide8.xml"/><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slideLayout" Target="../slideLayouts/slideLayout3.xml"/><Relationship Id="rId16" Type="http://schemas.openxmlformats.org/officeDocument/2006/relationships/image" Target="../media/image30.png"/><Relationship Id="rId1" Type="http://schemas.openxmlformats.org/officeDocument/2006/relationships/tags" Target="../tags/tag11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emf"/><Relationship Id="rId15" Type="http://schemas.openxmlformats.org/officeDocument/2006/relationships/image" Target="../media/image29.sv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oleObject" Target="../embeddings/oleObject64.bin"/><Relationship Id="rId9" Type="http://schemas.openxmlformats.org/officeDocument/2006/relationships/image" Target="../media/image23.svg"/><Relationship Id="rId1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9.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ags" Target="../tags/tag11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64.bin"/><Relationship Id="rId9"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a:normAutofit/>
          </a:bodyPr>
          <a:lstStyle/>
          <a:p>
            <a:pPr>
              <a:defRPr/>
            </a:pPr>
            <a:r>
              <a:rPr lang="en-US" sz="4800" dirty="0"/>
              <a:t>Risk Management Toolkit</a:t>
            </a:r>
            <a:br>
              <a:rPr lang="en-US" sz="4800" dirty="0"/>
            </a:br>
            <a:r>
              <a:rPr lang="en-US" sz="4800" b="0" dirty="0"/>
              <a:t>Overview and Approach</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7024399" cy="1163395"/>
          </a:xfrm>
        </p:spPr>
        <p:txBody>
          <a:bodyPr wrap="square" lIns="0" tIns="0" rIns="0" bIns="0">
            <a:spAutoFit/>
          </a:bodyPr>
          <a:lstStyle/>
          <a:p>
            <a:r>
              <a:rPr lang="en-GB" sz="2800" b="1" dirty="0"/>
              <a:t>Created by ex-McKinsey, Deloitte &amp; BCG Management Consultants specialized in Risk Management</a:t>
            </a:r>
            <a:endParaRPr lang="en-US" sz="2800" dirty="0"/>
          </a:p>
        </p:txBody>
      </p:sp>
      <p:pic>
        <p:nvPicPr>
          <p:cNvPr id="3" name="Picture 2">
            <a:hlinkClick r:id="rId7"/>
            <a:extLst>
              <a:ext uri="{FF2B5EF4-FFF2-40B4-BE49-F238E27FC236}">
                <a16:creationId xmlns:a16="http://schemas.microsoft.com/office/drawing/2014/main" id="{DE7D1053-BB53-2A81-A388-CD611081B918}"/>
              </a:ext>
            </a:extLst>
          </p:cNvPr>
          <p:cNvPicPr>
            <a:picLocks noChangeAspect="1"/>
          </p:cNvPicPr>
          <p:nvPr/>
        </p:nvPicPr>
        <p:blipFill>
          <a:blip r:embed="rId8"/>
          <a:stretch>
            <a:fillRect/>
          </a:stretch>
        </p:blipFill>
        <p:spPr>
          <a:xfrm>
            <a:off x="7420195" y="52894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a:t>
            </a:r>
            <a:r>
              <a:rPr lang="en-GB" sz="1050">
                <a:solidFill>
                  <a:srgbClr val="002776"/>
                </a:solidFill>
              </a:rPr>
              <a:t>, vision</a:t>
            </a:r>
            <a:r>
              <a:rPr lang="en-GB" sz="1050" dirty="0">
                <a:solidFill>
                  <a:srgbClr val="002776"/>
                </a:solidFill>
              </a:rPr>
              <a:t>,</a:t>
            </a:r>
            <a:r>
              <a:rPr lang="en-GB" sz="1050">
                <a:solidFill>
                  <a:srgbClr val="002776"/>
                </a:solidFill>
              </a:rPr>
              <a:t> </a:t>
            </a:r>
            <a:r>
              <a:rPr lang="en-GB" sz="1050" dirty="0">
                <a:solidFill>
                  <a:srgbClr val="002776"/>
                </a:solidFill>
              </a:rPr>
              <a:t>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a:t>
            </a:r>
            <a:r>
              <a:rPr lang="en-GB" sz="1050">
                <a:solidFill>
                  <a:srgbClr val="002776"/>
                </a:solidFill>
              </a:rPr>
              <a:t>, targets</a:t>
            </a:r>
            <a:r>
              <a:rPr lang="en-GB" sz="1050" dirty="0">
                <a:solidFill>
                  <a:srgbClr val="002776"/>
                </a:solidFill>
              </a:rPr>
              <a:t>,</a:t>
            </a:r>
            <a:r>
              <a:rPr lang="en-GB" sz="1050">
                <a:solidFill>
                  <a:srgbClr val="002776"/>
                </a:solidFill>
              </a:rPr>
              <a:t> </a:t>
            </a:r>
            <a:r>
              <a:rPr lang="en-GB" sz="1050" dirty="0">
                <a:solidFill>
                  <a:srgbClr val="002776"/>
                </a:solidFill>
              </a:rPr>
              <a:t>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 </a:t>
            </a:r>
            <a:r>
              <a:rPr lang="en-GB" sz="1050">
                <a:solidFill>
                  <a:srgbClr val="002776"/>
                </a:solidFill>
              </a:rPr>
              <a:t>Framework </a:t>
            </a:r>
            <a:r>
              <a:rPr lang="en-GB" sz="1050" dirty="0">
                <a:solidFill>
                  <a:srgbClr val="002776"/>
                </a:solidFill>
              </a:rPr>
              <a:t>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94384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758187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troduction</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a:t>
            </a:r>
            <a:r>
              <a:rPr lang="en-US"/>
              <a:t>can use </a:t>
            </a:r>
            <a:r>
              <a:rPr lang="en-US" dirty="0"/>
              <a:t>this </a:t>
            </a:r>
            <a:r>
              <a:rPr lang="en-US"/>
              <a:t>deliverable </a:t>
            </a:r>
            <a:r>
              <a:rPr lang="en-US" dirty="0"/>
              <a:t>directly</a:t>
            </a:r>
            <a:r>
              <a:rPr lang="en-US"/>
              <a:t> for </a:t>
            </a:r>
            <a:r>
              <a:rPr lang="en-US" dirty="0"/>
              <a:t>your own purposes</a:t>
            </a:r>
            <a:r>
              <a:rPr lang="en-US"/>
              <a:t>. You simply need to </a:t>
            </a:r>
            <a:r>
              <a:rPr lang="en-US" dirty="0"/>
              <a:t>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a:t>
            </a:r>
            <a:r>
              <a:rPr lang="en-US"/>
              <a:t>slides have an </a:t>
            </a:r>
            <a:r>
              <a:rPr lang="en-US" dirty="0"/>
              <a:t>orange </a:t>
            </a:r>
            <a:r>
              <a:rPr lang="en-US"/>
              <a:t>rectangle in their top-right corner</a:t>
            </a:r>
            <a:r>
              <a:rPr lang="en-US" dirty="0"/>
              <a:t>. You may decide to delete these slides as they are </a:t>
            </a:r>
            <a:r>
              <a:rPr lang="en-US"/>
              <a:t>mainly there to </a:t>
            </a:r>
            <a:r>
              <a:rPr lang="en-US" dirty="0"/>
              <a:t>help you fill in the rest of the deliverable. Before </a:t>
            </a:r>
            <a:r>
              <a:rPr lang="en-US"/>
              <a:t>you do, copy </a:t>
            </a:r>
            <a:r>
              <a:rPr lang="en-US" dirty="0"/>
              <a:t>and</a:t>
            </a:r>
            <a:r>
              <a:rPr lang="en-US"/>
              <a:t> paste this document </a:t>
            </a:r>
            <a:r>
              <a:rPr lang="en-US" dirty="0"/>
              <a:t>so you always have the original version in case you need it.</a:t>
            </a:r>
          </a:p>
        </p:txBody>
      </p:sp>
    </p:spTree>
    <p:extLst>
      <p:ext uri="{BB962C8B-B14F-4D97-AF65-F5344CB8AC3E}">
        <p14:creationId xmlns:p14="http://schemas.microsoft.com/office/powerpoint/2010/main" val="1151422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do we mean by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3139321"/>
          </a:xfrm>
          <a:prstGeom prst="rect">
            <a:avLst/>
          </a:prstGeom>
          <a:noFill/>
        </p:spPr>
        <p:txBody>
          <a:bodyPr wrap="square" rtlCol="0">
            <a:spAutoFit/>
          </a:bodyPr>
          <a:lstStyle/>
          <a:p>
            <a:r>
              <a:rPr lang="en-GB" dirty="0"/>
              <a:t>Risk appetite is the amount of risk an entity is willing to accept or retain in order to achieve its objectives. It is a statement or series of statements that describes the entity’s </a:t>
            </a:r>
            <a:r>
              <a:rPr lang="en-GB"/>
              <a:t>attitude toward risk </a:t>
            </a:r>
            <a:r>
              <a:rPr lang="en-GB" dirty="0"/>
              <a:t>taking. Determining an entity’s risk appetite occurs through the development of risk appetite statements which clearly set out what </a:t>
            </a:r>
            <a:r>
              <a:rPr lang="en-GB"/>
              <a:t>the executives consider </a:t>
            </a:r>
            <a:r>
              <a:rPr lang="en-GB" dirty="0"/>
              <a:t>to be acceptable risk-taking. Risk appetite statements are usually aligned to categories of risk (e</a:t>
            </a:r>
            <a:r>
              <a:rPr lang="en-GB"/>
              <a:t>.g., financial, people</a:t>
            </a:r>
            <a:r>
              <a:rPr lang="en-GB" dirty="0"/>
              <a:t>,</a:t>
            </a:r>
            <a:r>
              <a:rPr lang="en-GB"/>
              <a:t> </a:t>
            </a:r>
            <a:r>
              <a:rPr lang="en-GB" dirty="0"/>
              <a:t>and reputation risks).</a:t>
            </a:r>
          </a:p>
          <a:p>
            <a:endParaRPr lang="en-GB" dirty="0"/>
          </a:p>
          <a:p>
            <a:r>
              <a:rPr lang="en-GB" dirty="0"/>
              <a:t>Risk appetite statements will look and feel different according to an entity’s internal and external context. If these are not calibrated, the resultant actions may be skewed either too lightly (e</a:t>
            </a:r>
            <a:r>
              <a:rPr lang="en-GB"/>
              <a:t>.g., no </a:t>
            </a:r>
            <a:r>
              <a:rPr lang="en-GB" dirty="0"/>
              <a:t>action</a:t>
            </a:r>
          </a:p>
          <a:p>
            <a:r>
              <a:rPr lang="en-GB" dirty="0"/>
              <a:t>required) or result in an over-controlled risk response. </a:t>
            </a:r>
          </a:p>
          <a:p>
            <a:endParaRPr lang="en-GB" dirty="0"/>
          </a:p>
          <a:p>
            <a:r>
              <a:rPr lang="en-GB" dirty="0"/>
              <a:t>To help us assess our organization’s risk appetite, we decided to use a risk appetite scale (see next slide).</a:t>
            </a:r>
            <a:endParaRPr lang="en-US" dirty="0"/>
          </a:p>
        </p:txBody>
      </p:sp>
    </p:spTree>
    <p:extLst>
      <p:ext uri="{BB962C8B-B14F-4D97-AF65-F5344CB8AC3E}">
        <p14:creationId xmlns:p14="http://schemas.microsoft.com/office/powerpoint/2010/main" val="2193234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are the benefits of defining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7" name="Rectangle 6">
            <a:extLst>
              <a:ext uri="{FF2B5EF4-FFF2-40B4-BE49-F238E27FC236}">
                <a16:creationId xmlns:a16="http://schemas.microsoft.com/office/drawing/2014/main" id="{F1F401FA-2BFC-40C7-AAA5-FC7156637BEA}"/>
              </a:ext>
            </a:extLst>
          </p:cNvPr>
          <p:cNvSpPr/>
          <p:nvPr/>
        </p:nvSpPr>
        <p:spPr>
          <a:xfrm>
            <a:off x="1533144" y="1800631"/>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Support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conscious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and informed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791AB7F-E00D-48EC-94AA-274EED516E66}"/>
              </a:ext>
            </a:extLst>
          </p:cNvPr>
          <p:cNvSpPr/>
          <p:nvPr/>
        </p:nvSpPr>
        <p:spPr>
          <a:xfrm>
            <a:off x="1533144" y="2746877"/>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Promot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a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more consistent risk management approach</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B6A73BA2-6E52-4ADF-AC22-008BC80AC1C3}"/>
              </a:ext>
            </a:extLst>
          </p:cNvPr>
          <p:cNvSpPr/>
          <p:nvPr/>
        </p:nvSpPr>
        <p:spPr>
          <a:xfrm>
            <a:off x="1533144" y="369312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Guid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risk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decision m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450BEFE-90F1-42B4-9220-A9B53953ED73}"/>
              </a:ext>
            </a:extLst>
          </p:cNvPr>
          <p:cNvSpPr/>
          <p:nvPr/>
        </p:nvSpPr>
        <p:spPr>
          <a:xfrm>
            <a:off x="1533144" y="4639369"/>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Structur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the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executive conversation on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CBE42277-9FA7-4D4C-803D-BA7BC25DB00E}"/>
              </a:ext>
            </a:extLst>
          </p:cNvPr>
          <p:cNvSpPr/>
          <p:nvPr/>
        </p:nvSpPr>
        <p:spPr>
          <a:xfrm>
            <a:off x="1533144" y="558561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Calibrat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the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organization risk assessment process</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59825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Tree>
    <p:extLst>
      <p:ext uri="{BB962C8B-B14F-4D97-AF65-F5344CB8AC3E}">
        <p14:creationId xmlns:p14="http://schemas.microsoft.com/office/powerpoint/2010/main" val="3297884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a:t>
            </a:r>
            <a:r>
              <a:rPr lang="en-GB" altLang="en-US" sz="1050" b="0" i="0" kern="0">
                <a:latin typeface="+mn-lt"/>
              </a:rPr>
              <a:t>heavily outweighed by </a:t>
            </a:r>
            <a:r>
              <a:rPr lang="en-GB" altLang="en-US" sz="1050" b="0" i="0" kern="0" dirty="0">
                <a:latin typeface="+mn-lt"/>
              </a:rPr>
              <a:t>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a:t>
            </a:r>
            <a:r>
              <a:rPr lang="en-AU" sz="1050" b="1">
                <a:solidFill>
                  <a:schemeClr val="bg1"/>
                </a:solidFill>
              </a:rPr>
              <a:t>from </a:t>
            </a:r>
            <a:r>
              <a:rPr lang="en-AU" sz="1050" b="1" dirty="0">
                <a:solidFill>
                  <a:schemeClr val="bg1"/>
                </a:solidFill>
              </a:rPr>
              <a:t>a</a:t>
            </a:r>
            <a:r>
              <a:rPr lang="en-AU" sz="1050" b="1">
                <a:solidFill>
                  <a:schemeClr val="bg1"/>
                </a:solidFill>
              </a:rPr>
              <a:t> Fortune </a:t>
            </a:r>
            <a:r>
              <a:rPr lang="en-AU" sz="1050" b="1" dirty="0">
                <a:solidFill>
                  <a:schemeClr val="bg1"/>
                </a:solidFill>
              </a:rPr>
              <a:t>500 company</a:t>
            </a:r>
          </a:p>
        </p:txBody>
      </p:sp>
    </p:spTree>
    <p:extLst>
      <p:ext uri="{BB962C8B-B14F-4D97-AF65-F5344CB8AC3E}">
        <p14:creationId xmlns:p14="http://schemas.microsoft.com/office/powerpoint/2010/main" val="936905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a:extLst>
              <a:ext uri="{FF2B5EF4-FFF2-40B4-BE49-F238E27FC236}">
                <a16:creationId xmlns:a16="http://schemas.microsoft.com/office/drawing/2014/main" id="{94E2EC70-0AE3-49E9-995D-F5877F929EE6}"/>
              </a:ext>
            </a:extLst>
          </p:cNvPr>
          <p:cNvSpPr>
            <a:spLocks noChangeArrowheads="1"/>
          </p:cNvSpPr>
          <p:nvPr/>
        </p:nvSpPr>
        <p:spPr bwMode="auto">
          <a:xfrm>
            <a:off x="7720352" y="2350181"/>
            <a:ext cx="1897765" cy="4167583"/>
          </a:xfrm>
          <a:prstGeom prst="rect">
            <a:avLst/>
          </a:prstGeom>
          <a:solidFill>
            <a:srgbClr val="00B050">
              <a:alpha val="21000"/>
            </a:srgbClr>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endParaRPr>
          </a:p>
        </p:txBody>
      </p:sp>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Following multiple interviews and workshops, we assessed that the risk appetite of our organization was high [insert your </a:t>
            </a:r>
            <a:r>
              <a:rPr lang="en-US"/>
              <a:t>own rating</a:t>
            </a:r>
            <a:r>
              <a:rPr lang="en-US" dirty="0"/>
              <a:t>]</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38251"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a:ln>
                  <a:noFill/>
                </a:ln>
                <a:solidFill>
                  <a:srgbClr val="FFFFFF"/>
                </a:solidFill>
                <a:effectLst/>
                <a:uLnTx/>
                <a:uFillTx/>
                <a:latin typeface="+mn-lt"/>
                <a:cs typeface="Arial" panose="020B0604020202020204" pitchFamily="34" charset="0"/>
              </a:rPr>
              <a:t>Objective/ </a:t>
            </a: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rgbClr val="00B050"/>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06040"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7382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41618"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0940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38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06040"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7382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heavily out-weighted by 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41618"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0940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38251"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06040"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73829"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41618"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09409"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38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06040"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7382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41618"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0940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5" name="Arrow: Down 4">
            <a:extLst>
              <a:ext uri="{FF2B5EF4-FFF2-40B4-BE49-F238E27FC236}">
                <a16:creationId xmlns:a16="http://schemas.microsoft.com/office/drawing/2014/main" id="{95D3F32B-FB53-4CFD-80DE-8095C086C16E}"/>
              </a:ext>
            </a:extLst>
          </p:cNvPr>
          <p:cNvSpPr/>
          <p:nvPr/>
        </p:nvSpPr>
        <p:spPr>
          <a:xfrm>
            <a:off x="8408737" y="1720738"/>
            <a:ext cx="563525" cy="3010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9311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screenshots </a:t>
            </a:r>
            <a:r>
              <a:rPr lang="en-US" sz="2700"/>
              <a:t>from Phase 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943482" y="1549164"/>
            <a:ext cx="4817238" cy="307777"/>
          </a:xfrm>
          <a:prstGeom prst="rect">
            <a:avLst/>
          </a:prstGeom>
          <a:noFill/>
        </p:spPr>
        <p:txBody>
          <a:bodyPr wrap="square" rtlCol="0">
            <a:spAutoFit/>
          </a:bodyPr>
          <a:lstStyle/>
          <a:p>
            <a:pPr algn="ctr"/>
            <a:r>
              <a:rPr lang="en-GB" sz="1400" b="1" dirty="0"/>
              <a:t>Risk Management Capability Maturity Assessment</a:t>
            </a:r>
            <a:endParaRPr lang="en-US" sz="1400" b="1" dirty="0"/>
          </a:p>
        </p:txBody>
      </p:sp>
      <p:sp>
        <p:nvSpPr>
          <p:cNvPr id="15" name="TextBox 14">
            <a:extLst>
              <a:ext uri="{FF2B5EF4-FFF2-40B4-BE49-F238E27FC236}">
                <a16:creationId xmlns:a16="http://schemas.microsoft.com/office/drawing/2014/main" id="{9D051C05-62A5-4FB5-846C-31987D33AA9E}"/>
              </a:ext>
            </a:extLst>
          </p:cNvPr>
          <p:cNvSpPr txBox="1"/>
          <p:nvPr/>
        </p:nvSpPr>
        <p:spPr>
          <a:xfrm>
            <a:off x="1423770" y="4133141"/>
            <a:ext cx="3648000" cy="307777"/>
          </a:xfrm>
          <a:prstGeom prst="rect">
            <a:avLst/>
          </a:prstGeom>
          <a:noFill/>
        </p:spPr>
        <p:txBody>
          <a:bodyPr wrap="square" rtlCol="0">
            <a:spAutoFit/>
          </a:bodyPr>
          <a:lstStyle/>
          <a:p>
            <a:pPr algn="ctr"/>
            <a:r>
              <a:rPr lang="en-US" sz="1400" b="1" dirty="0"/>
              <a:t>Governance Structure</a:t>
            </a:r>
          </a:p>
        </p:txBody>
      </p:sp>
      <p:sp>
        <p:nvSpPr>
          <p:cNvPr id="17" name="TextBox 16">
            <a:extLst>
              <a:ext uri="{FF2B5EF4-FFF2-40B4-BE49-F238E27FC236}">
                <a16:creationId xmlns:a16="http://schemas.microsoft.com/office/drawing/2014/main" id="{142BE8BF-9256-475D-900B-55FCC0CE6DB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Detailed Roadmap in Excel</a:t>
            </a:r>
          </a:p>
        </p:txBody>
      </p:sp>
      <p:sp>
        <p:nvSpPr>
          <p:cNvPr id="19" name="TextBox 18">
            <a:extLst>
              <a:ext uri="{FF2B5EF4-FFF2-40B4-BE49-F238E27FC236}">
                <a16:creationId xmlns:a16="http://schemas.microsoft.com/office/drawing/2014/main" id="{B9017FA6-F0E0-4269-9C6B-53FA5BEF3E64}"/>
              </a:ext>
            </a:extLst>
          </p:cNvPr>
          <p:cNvSpPr txBox="1"/>
          <p:nvPr/>
        </p:nvSpPr>
        <p:spPr>
          <a:xfrm>
            <a:off x="6661779" y="4151570"/>
            <a:ext cx="3648000" cy="307777"/>
          </a:xfrm>
          <a:prstGeom prst="rect">
            <a:avLst/>
          </a:prstGeom>
          <a:noFill/>
        </p:spPr>
        <p:txBody>
          <a:bodyPr wrap="square" rtlCol="0">
            <a:spAutoFit/>
          </a:bodyPr>
          <a:lstStyle/>
          <a:p>
            <a:pPr algn="ctr"/>
            <a:r>
              <a:rPr lang="en-US" sz="1400" b="1" dirty="0"/>
              <a:t>Guiding Principles</a:t>
            </a:r>
          </a:p>
        </p:txBody>
      </p:sp>
      <p:pic>
        <p:nvPicPr>
          <p:cNvPr id="14" name="Picture 13">
            <a:extLst>
              <a:ext uri="{FF2B5EF4-FFF2-40B4-BE49-F238E27FC236}">
                <a16:creationId xmlns:a16="http://schemas.microsoft.com/office/drawing/2014/main" id="{04B2A881-2EC5-4093-84BC-F5B268975F25}"/>
              </a:ext>
            </a:extLst>
          </p:cNvPr>
          <p:cNvPicPr>
            <a:picLocks noChangeAspect="1"/>
          </p:cNvPicPr>
          <p:nvPr/>
        </p:nvPicPr>
        <p:blipFill>
          <a:blip r:embed="rId6"/>
          <a:stretch>
            <a:fillRect/>
          </a:stretch>
        </p:blipFill>
        <p:spPr>
          <a:xfrm>
            <a:off x="1423770" y="1891951"/>
            <a:ext cx="3648000" cy="2052000"/>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17C7B38E-2E67-4720-B664-7F8A1FF33A86}"/>
              </a:ext>
            </a:extLst>
          </p:cNvPr>
          <p:cNvPicPr>
            <a:picLocks noChangeAspect="1"/>
          </p:cNvPicPr>
          <p:nvPr/>
        </p:nvPicPr>
        <p:blipFill>
          <a:blip r:embed="rId7"/>
          <a:stretch>
            <a:fillRect/>
          </a:stretch>
        </p:blipFill>
        <p:spPr>
          <a:xfrm>
            <a:off x="6673209" y="1926241"/>
            <a:ext cx="3648000" cy="205200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371787DE-423F-4CD9-9495-E164624BDFAF}"/>
              </a:ext>
            </a:extLst>
          </p:cNvPr>
          <p:cNvPicPr>
            <a:picLocks noChangeAspect="1"/>
          </p:cNvPicPr>
          <p:nvPr/>
        </p:nvPicPr>
        <p:blipFill>
          <a:blip r:embed="rId8"/>
          <a:stretch>
            <a:fillRect/>
          </a:stretch>
        </p:blipFill>
        <p:spPr>
          <a:xfrm>
            <a:off x="1435200" y="4440918"/>
            <a:ext cx="3648000" cy="205200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B9F74C00-9E6B-41B9-857F-88B111959D25}"/>
              </a:ext>
            </a:extLst>
          </p:cNvPr>
          <p:cNvPicPr>
            <a:picLocks noChangeAspect="1"/>
          </p:cNvPicPr>
          <p:nvPr/>
        </p:nvPicPr>
        <p:blipFill>
          <a:blip r:embed="rId9"/>
          <a:stretch>
            <a:fillRect/>
          </a:stretch>
        </p:blipFill>
        <p:spPr>
          <a:xfrm>
            <a:off x="6661779" y="4457565"/>
            <a:ext cx="3648000" cy="2052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788369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5.Risk </a:t>
            </a:r>
            <a:r>
              <a:rPr lang="en-US" sz="1200" b="1" dirty="0">
                <a:solidFill>
                  <a:schemeClr val="bg1"/>
                </a:solidFill>
                <a:cs typeface="Times New Roman" pitchFamily="18" charset="0"/>
              </a:rPr>
              <a:t>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Risk types and examples </a:t>
            </a:r>
          </a:p>
          <a:p>
            <a:pPr marL="169863" indent="-169863">
              <a:spcBef>
                <a:spcPts val="400"/>
              </a:spcBef>
              <a:spcAft>
                <a:spcPts val="400"/>
              </a:spcAft>
              <a:buFont typeface="+mj-lt"/>
              <a:buAutoNum type="arabicPeriod"/>
            </a:pPr>
            <a:r>
              <a:rPr lang="en-GB" sz="1050" dirty="0"/>
              <a:t>Tools to identify risks </a:t>
            </a:r>
          </a:p>
          <a:p>
            <a:pPr marL="169863" indent="-169863">
              <a:spcBef>
                <a:spcPts val="400"/>
              </a:spcBef>
              <a:spcAft>
                <a:spcPts val="400"/>
              </a:spcAft>
              <a:buFont typeface="+mj-lt"/>
              <a:buAutoNum type="arabicPeriod"/>
            </a:pPr>
            <a:r>
              <a:rPr lang="en-GB" sz="1050" dirty="0"/>
              <a:t>Simple risk log in Powerpoint</a:t>
            </a:r>
          </a:p>
          <a:p>
            <a:pPr marL="169863" indent="-169863">
              <a:spcBef>
                <a:spcPts val="400"/>
              </a:spcBef>
              <a:spcAft>
                <a:spcPts val="400"/>
              </a:spcAft>
              <a:buFont typeface="+mj-lt"/>
              <a:buAutoNum type="arabicPeriod"/>
            </a:pPr>
            <a:r>
              <a:rPr lang="en-GB" sz="1050" dirty="0"/>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601760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Simple </a:t>
            </a:r>
            <a:r>
              <a:rPr lang="en-US" sz="2400" kern="0" dirty="0"/>
              <a:t>risk</a:t>
            </a:r>
            <a:r>
              <a:rPr lang="en-US" sz="2400" kern="0"/>
              <a:t> log</a:t>
            </a:r>
            <a:br>
              <a:rPr lang="en-US" sz="2400" kern="0"/>
            </a:br>
            <a:r>
              <a:rPr lang="en-US" sz="2400" b="0" kern="0"/>
              <a:t>Descrip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19</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2262158"/>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a:t>
            </a:r>
            <a:r>
              <a:rPr lang="en-GB" sz="1800"/>
              <a:t>simple </a:t>
            </a:r>
            <a:r>
              <a:rPr lang="en-GB" dirty="0"/>
              <a:t>risk</a:t>
            </a:r>
            <a:r>
              <a:rPr lang="en-GB"/>
              <a:t> log </a:t>
            </a:r>
            <a:r>
              <a:rPr lang="en-GB" sz="1800"/>
              <a:t>in </a:t>
            </a:r>
            <a:r>
              <a:rPr lang="en-GB"/>
              <a:t>PowerPoint</a:t>
            </a:r>
            <a:r>
              <a:rPr lang="en-GB" sz="1800"/>
              <a:t>.</a:t>
            </a:r>
            <a:endParaRPr lang="en-GB" sz="1800" dirty="0"/>
          </a:p>
          <a:p>
            <a:pPr>
              <a:spcBef>
                <a:spcPts val="600"/>
              </a:spcBef>
              <a:spcAft>
                <a:spcPts val="600"/>
              </a:spcAft>
            </a:pPr>
            <a:r>
              <a:rPr lang="en-GB" sz="1800" dirty="0"/>
              <a:t>This </a:t>
            </a:r>
            <a:r>
              <a:rPr lang="en-GB"/>
              <a:t>s</a:t>
            </a:r>
            <a:r>
              <a:rPr lang="en-GB" sz="1800"/>
              <a:t>imple </a:t>
            </a:r>
            <a:r>
              <a:rPr lang="en-GB" dirty="0"/>
              <a:t>risk</a:t>
            </a:r>
            <a:r>
              <a:rPr lang="en-GB"/>
              <a:t> log </a:t>
            </a:r>
            <a:r>
              <a:rPr lang="en-GB" sz="1800"/>
              <a:t>will </a:t>
            </a:r>
            <a:r>
              <a:rPr lang="en-GB" sz="1800" dirty="0"/>
              <a:t>be used when our list of risks is small or if we need to make a presentation in front of our Board of Directors, </a:t>
            </a:r>
            <a:r>
              <a:rPr lang="en-GB" sz="1800"/>
              <a:t>Executive Committee</a:t>
            </a:r>
            <a:r>
              <a:rPr lang="en-GB" dirty="0"/>
              <a:t>,</a:t>
            </a:r>
            <a:r>
              <a:rPr lang="en-GB" sz="1800"/>
              <a:t> </a:t>
            </a:r>
            <a:r>
              <a:rPr lang="en-GB" sz="1800" dirty="0"/>
              <a:t>or any stakeholders that do not need to know too many details.</a:t>
            </a:r>
          </a:p>
          <a:p>
            <a:endParaRPr lang="en-GB" sz="1800" dirty="0"/>
          </a:p>
          <a:p>
            <a:endParaRPr lang="en-GB" dirty="0"/>
          </a:p>
          <a:p>
            <a:endParaRPr lang="en-AU" sz="1800" dirty="0"/>
          </a:p>
        </p:txBody>
      </p:sp>
    </p:spTree>
    <p:extLst>
      <p:ext uri="{BB962C8B-B14F-4D97-AF65-F5344CB8AC3E}">
        <p14:creationId xmlns:p14="http://schemas.microsoft.com/office/powerpoint/2010/main" val="1891197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Key Definition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673679"/>
            <a:ext cx="11073049" cy="5186035"/>
          </a:xfrm>
          <a:prstGeom prst="rect">
            <a:avLst/>
          </a:prstGeom>
          <a:noFill/>
        </p:spPr>
        <p:txBody>
          <a:bodyPr wrap="square" rtlCol="0">
            <a:spAutoFit/>
          </a:bodyPr>
          <a:lstStyle/>
          <a:p>
            <a:pPr marL="92075">
              <a:spcBef>
                <a:spcPts val="500"/>
              </a:spcBef>
              <a:spcAft>
                <a:spcPts val="500"/>
              </a:spcAft>
            </a:pPr>
            <a:r>
              <a:rPr lang="en-GB" sz="1600" b="1"/>
              <a:t>Risk management </a:t>
            </a:r>
            <a:r>
              <a:rPr lang="en-GB" sz="1600"/>
              <a:t>is </a:t>
            </a:r>
            <a:r>
              <a:rPr lang="en-GB" sz="1600" dirty="0"/>
              <a:t>the culture</a:t>
            </a:r>
            <a:r>
              <a:rPr lang="en-GB" sz="1600"/>
              <a:t>, processes</a:t>
            </a:r>
            <a:r>
              <a:rPr lang="en-GB" sz="1600" dirty="0"/>
              <a:t>,</a:t>
            </a:r>
            <a:r>
              <a:rPr lang="en-GB" sz="1600"/>
              <a:t> </a:t>
            </a:r>
            <a:r>
              <a:rPr lang="en-GB" sz="1600" dirty="0"/>
              <a:t>and structures that are directed towards realising potential opportunities, whilst managing adverse effects.</a:t>
            </a:r>
          </a:p>
          <a:p>
            <a:pPr marL="92075">
              <a:spcBef>
                <a:spcPts val="500"/>
              </a:spcBef>
              <a:spcAft>
                <a:spcPts val="500"/>
              </a:spcAft>
            </a:pPr>
            <a:r>
              <a:rPr lang="en-GB" sz="1600" b="1" dirty="0"/>
              <a:t>A risk </a:t>
            </a:r>
            <a:r>
              <a:rPr lang="en-GB" sz="1600" dirty="0"/>
              <a:t>is a measure of the potential inability to achieve a goal or target within defined safety, cost, schedule, and technical constraints. A risk has two components: the likelihood of failing to achieve a particular outcome, and the consequence of failing to </a:t>
            </a:r>
            <a:r>
              <a:rPr lang="en-GB" sz="1600"/>
              <a:t>achieve it. </a:t>
            </a:r>
            <a:r>
              <a:rPr lang="en-GB" sz="1600" dirty="0"/>
              <a:t>A risk is a future event and can often be managed proactively.</a:t>
            </a:r>
          </a:p>
          <a:p>
            <a:pPr marL="92075">
              <a:spcBef>
                <a:spcPts val="500"/>
              </a:spcBef>
              <a:spcAft>
                <a:spcPts val="500"/>
              </a:spcAft>
            </a:pPr>
            <a:r>
              <a:rPr lang="en-GB" sz="1600" b="1" dirty="0"/>
              <a:t>An issue </a:t>
            </a:r>
            <a:r>
              <a:rPr lang="en-GB" sz="1600" dirty="0"/>
              <a:t>is a risk that has occurred and has become a problem</a:t>
            </a:r>
            <a:r>
              <a:rPr lang="en-GB" sz="1600"/>
              <a:t>. It is </a:t>
            </a:r>
            <a:r>
              <a:rPr lang="en-GB" sz="1600" dirty="0"/>
              <a:t>an undesirable event that has occurred and its occurrence cannot be stopped or directly controlled.</a:t>
            </a:r>
          </a:p>
          <a:p>
            <a:pPr marL="92075">
              <a:spcBef>
                <a:spcPts val="500"/>
              </a:spcBef>
              <a:spcAft>
                <a:spcPts val="500"/>
              </a:spcAft>
            </a:pPr>
            <a:r>
              <a:rPr lang="en-GB" sz="1600" b="1" dirty="0"/>
              <a:t>Risk assessment </a:t>
            </a:r>
            <a:r>
              <a:rPr lang="en-GB" sz="1600" dirty="0"/>
              <a:t>is the qualitative and/or quantitative evaluation of the likelihood and consequence of a risk occurring.</a:t>
            </a:r>
            <a:endParaRPr lang="en-GB" sz="1600" b="1" dirty="0"/>
          </a:p>
          <a:p>
            <a:pPr marL="92075">
              <a:spcBef>
                <a:spcPts val="500"/>
              </a:spcBef>
              <a:spcAft>
                <a:spcPts val="500"/>
              </a:spcAft>
            </a:pPr>
            <a:r>
              <a:rPr lang="en-GB" sz="1600" b="1" dirty="0"/>
              <a:t>Likelihood</a:t>
            </a:r>
            <a:r>
              <a:rPr lang="en-GB" sz="1600" dirty="0"/>
              <a:t> is the probability of a specified outcome.</a:t>
            </a:r>
          </a:p>
          <a:p>
            <a:pPr marL="92075">
              <a:spcBef>
                <a:spcPts val="500"/>
              </a:spcBef>
              <a:spcAft>
                <a:spcPts val="500"/>
              </a:spcAft>
            </a:pPr>
            <a:r>
              <a:rPr lang="en-GB" sz="1600" b="1" dirty="0"/>
              <a:t>A closed risk </a:t>
            </a:r>
            <a:r>
              <a:rPr lang="en-GB" sz="1600" dirty="0"/>
              <a:t>is one </a:t>
            </a:r>
            <a:r>
              <a:rPr lang="en-GB" sz="1600"/>
              <a:t>that no </a:t>
            </a:r>
            <a:r>
              <a:rPr lang="en-GB" sz="1600" dirty="0"/>
              <a:t>longer exists (i.e., the risk has evolved into an issue or is no longer relevant), is no longer cost-effective to track, or has been mitigated.</a:t>
            </a:r>
          </a:p>
          <a:p>
            <a:pPr marL="92075">
              <a:spcBef>
                <a:spcPts val="500"/>
              </a:spcBef>
              <a:spcAft>
                <a:spcPts val="500"/>
              </a:spcAft>
            </a:pPr>
            <a:r>
              <a:rPr lang="en-GB" sz="1600" b="1"/>
              <a:t>A </a:t>
            </a:r>
            <a:r>
              <a:rPr lang="en-GB" sz="1600" b="1" dirty="0"/>
              <a:t>risk</a:t>
            </a:r>
            <a:r>
              <a:rPr lang="en-GB" sz="1600" b="1"/>
              <a:t> owner </a:t>
            </a:r>
            <a:r>
              <a:rPr lang="en-GB" sz="1600"/>
              <a:t>is </a:t>
            </a:r>
            <a:r>
              <a:rPr lang="en-GB" sz="1600" dirty="0"/>
              <a:t>an individual to whom a risk is assigned. </a:t>
            </a:r>
            <a:r>
              <a:rPr lang="en-GB" sz="1600"/>
              <a:t>The </a:t>
            </a:r>
            <a:r>
              <a:rPr lang="en-GB" sz="1600" dirty="0"/>
              <a:t>risk</a:t>
            </a:r>
            <a:r>
              <a:rPr lang="en-GB" sz="1600"/>
              <a:t> owner is </a:t>
            </a:r>
            <a:r>
              <a:rPr lang="en-GB" sz="1600" dirty="0"/>
              <a:t>responsible and accountable for identifying, implementing, and tracking the risk mitigation strategy and actions.</a:t>
            </a:r>
          </a:p>
          <a:p>
            <a:pPr marL="92075">
              <a:spcBef>
                <a:spcPts val="500"/>
              </a:spcBef>
              <a:spcAft>
                <a:spcPts val="500"/>
              </a:spcAft>
            </a:pPr>
            <a:endParaRPr lang="en-GB" sz="1600" dirty="0"/>
          </a:p>
          <a:p>
            <a:pPr marL="92075">
              <a:spcBef>
                <a:spcPts val="500"/>
              </a:spcBef>
              <a:spcAft>
                <a:spcPts val="500"/>
              </a:spcAft>
            </a:pPr>
            <a:endParaRPr lang="en-GB" sz="1600" dirty="0"/>
          </a:p>
          <a:p>
            <a:pPr>
              <a:spcBef>
                <a:spcPts val="500"/>
              </a:spcBef>
              <a:spcAft>
                <a:spcPts val="500"/>
              </a:spcAft>
            </a:pPr>
            <a:endParaRPr lang="en-GB" sz="1600" dirty="0"/>
          </a:p>
        </p:txBody>
      </p:sp>
    </p:spTree>
    <p:extLst>
      <p:ext uri="{BB962C8B-B14F-4D97-AF65-F5344CB8AC3E}">
        <p14:creationId xmlns:p14="http://schemas.microsoft.com/office/powerpoint/2010/main" val="1763023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Simple </a:t>
            </a:r>
            <a:r>
              <a:rPr lang="en-US" sz="2400" kern="0" dirty="0"/>
              <a:t>risk</a:t>
            </a:r>
            <a:r>
              <a:rPr lang="en-US" sz="2400" kern="0"/>
              <a:t> log</a:t>
            </a:r>
            <a:br>
              <a:rPr lang="en-US" sz="2400" kern="0"/>
            </a:br>
            <a:r>
              <a:rPr lang="en-US" sz="2400" b="0" kern="0"/>
              <a:t>3-level </a:t>
            </a:r>
            <a:r>
              <a:rPr lang="en-US" sz="2400" b="0" kern="0" dirty="0"/>
              <a:t>rat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0</a:t>
            </a:fld>
            <a:endParaRPr lang="en-US" sz="800" dirty="0">
              <a:solidFill>
                <a:srgbClr val="ADAFBB"/>
              </a:solidFill>
            </a:endParaRPr>
          </a:p>
        </p:txBody>
      </p:sp>
      <p:graphicFrame>
        <p:nvGraphicFramePr>
          <p:cNvPr id="10" name="Table 1">
            <a:extLst>
              <a:ext uri="{FF2B5EF4-FFF2-40B4-BE49-F238E27FC236}">
                <a16:creationId xmlns:a16="http://schemas.microsoft.com/office/drawing/2014/main" id="{C97B4D14-17F6-46C4-92AE-CB17C728BFD8}"/>
              </a:ext>
            </a:extLst>
          </p:cNvPr>
          <p:cNvGraphicFramePr>
            <a:graphicFrameLocks noGrp="1"/>
          </p:cNvGraphicFramePr>
          <p:nvPr>
            <p:extLst>
              <p:ext uri="{D42A27DB-BD31-4B8C-83A1-F6EECF244321}">
                <p14:modId xmlns:p14="http://schemas.microsoft.com/office/powerpoint/2010/main" val="1413833027"/>
              </p:ext>
            </p:extLst>
          </p:nvPr>
        </p:nvGraphicFramePr>
        <p:xfrm>
          <a:off x="603249" y="1568677"/>
          <a:ext cx="10983911" cy="4985280"/>
        </p:xfrm>
        <a:graphic>
          <a:graphicData uri="http://schemas.openxmlformats.org/drawingml/2006/table">
            <a:tbl>
              <a:tblPr firstRow="1" bandRow="1">
                <a:tableStyleId>{5C22544A-7EE6-4342-B048-85BDC9FD1C3A}</a:tableStyleId>
              </a:tblPr>
              <a:tblGrid>
                <a:gridCol w="494031">
                  <a:extLst>
                    <a:ext uri="{9D8B030D-6E8A-4147-A177-3AD203B41FA5}">
                      <a16:colId xmlns:a16="http://schemas.microsoft.com/office/drawing/2014/main" val="1351976690"/>
                    </a:ext>
                  </a:extLst>
                </a:gridCol>
                <a:gridCol w="1340052">
                  <a:extLst>
                    <a:ext uri="{9D8B030D-6E8A-4147-A177-3AD203B41FA5}">
                      <a16:colId xmlns:a16="http://schemas.microsoft.com/office/drawing/2014/main" val="3088616597"/>
                    </a:ext>
                  </a:extLst>
                </a:gridCol>
                <a:gridCol w="2517061">
                  <a:extLst>
                    <a:ext uri="{9D8B030D-6E8A-4147-A177-3AD203B41FA5}">
                      <a16:colId xmlns:a16="http://schemas.microsoft.com/office/drawing/2014/main" val="3529697046"/>
                    </a:ext>
                  </a:extLst>
                </a:gridCol>
                <a:gridCol w="1175017">
                  <a:extLst>
                    <a:ext uri="{9D8B030D-6E8A-4147-A177-3AD203B41FA5}">
                      <a16:colId xmlns:a16="http://schemas.microsoft.com/office/drawing/2014/main" val="4168862341"/>
                    </a:ext>
                  </a:extLst>
                </a:gridCol>
                <a:gridCol w="1175017">
                  <a:extLst>
                    <a:ext uri="{9D8B030D-6E8A-4147-A177-3AD203B41FA5}">
                      <a16:colId xmlns:a16="http://schemas.microsoft.com/office/drawing/2014/main" val="1531915362"/>
                    </a:ext>
                  </a:extLst>
                </a:gridCol>
                <a:gridCol w="1175017">
                  <a:extLst>
                    <a:ext uri="{9D8B030D-6E8A-4147-A177-3AD203B41FA5}">
                      <a16:colId xmlns:a16="http://schemas.microsoft.com/office/drawing/2014/main" val="2219574283"/>
                    </a:ext>
                  </a:extLst>
                </a:gridCol>
                <a:gridCol w="2207615">
                  <a:extLst>
                    <a:ext uri="{9D8B030D-6E8A-4147-A177-3AD203B41FA5}">
                      <a16:colId xmlns:a16="http://schemas.microsoft.com/office/drawing/2014/main" val="2685416454"/>
                    </a:ext>
                  </a:extLst>
                </a:gridCol>
                <a:gridCol w="900101">
                  <a:extLst>
                    <a:ext uri="{9D8B030D-6E8A-4147-A177-3AD203B41FA5}">
                      <a16:colId xmlns:a16="http://schemas.microsoft.com/office/drawing/2014/main" val="3299786128"/>
                    </a:ext>
                  </a:extLst>
                </a:gridCol>
              </a:tblGrid>
              <a:tr h="611170">
                <a:tc>
                  <a:txBody>
                    <a:bodyPr/>
                    <a:lstStyle/>
                    <a:p>
                      <a:pPr algn="ctr"/>
                      <a:r>
                        <a:rPr lang="en-US" sz="1050" dirty="0"/>
                        <a:t>Risk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Title</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Description</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mpact</a:t>
                      </a:r>
                      <a:endParaRPr lang="en-US" sz="1200" dirty="0"/>
                    </a:p>
                    <a:p>
                      <a:pPr algn="ctr"/>
                      <a:r>
                        <a:rPr lang="en-GB" sz="800" b="0" dirty="0"/>
                        <a:t>(1=Minor; 2=Moderate; 3=Major)</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Probability</a:t>
                      </a:r>
                    </a:p>
                    <a:p>
                      <a:pPr algn="ctr"/>
                      <a:r>
                        <a:rPr lang="en-GB" sz="800" b="0" dirty="0"/>
                        <a:t>(1=Unlikely; 2=Possible; 3=Likely)</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Value</a:t>
                      </a:r>
                    </a:p>
                    <a:p>
                      <a:pPr algn="ctr"/>
                      <a:r>
                        <a:rPr lang="en-US" sz="800" b="0" dirty="0"/>
                        <a:t>(Impact X Probabilit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Mitigation Strateg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Assigned To</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tcPr>
                </a:tc>
                <a:extLst>
                  <a:ext uri="{0D108BD9-81ED-4DB2-BD59-A6C34878D82A}">
                    <a16:rowId xmlns:a16="http://schemas.microsoft.com/office/drawing/2014/main" val="1039923419"/>
                  </a:ext>
                </a:extLst>
              </a:tr>
              <a:tr h="611170">
                <a:tc>
                  <a:txBody>
                    <a:bodyPr/>
                    <a:lstStyle/>
                    <a:p>
                      <a:pPr algn="ctr"/>
                      <a:r>
                        <a:rPr lang="en-US" sz="1800" b="1" dirty="0">
                          <a:solidFill>
                            <a:schemeClr val="bg1"/>
                          </a:solidFill>
                        </a:rPr>
                        <a:t>1</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Lower website spee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mproving the resolution of our images will increase the size of our images, which may lower our website page loading ti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b="1" kern="1200" dirty="0">
                          <a:solidFill>
                            <a:schemeClr val="tx2"/>
                          </a:solidFill>
                          <a:latin typeface="+mn-lt"/>
                          <a:ea typeface="+mn-ea"/>
                          <a:cs typeface="+mn-cs"/>
                        </a:rPr>
                        <a:t>9</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GB" sz="1000" kern="1200" dirty="0">
                          <a:solidFill>
                            <a:schemeClr val="tx2"/>
                          </a:solidFill>
                          <a:latin typeface="+mn-lt"/>
                          <a:ea typeface="+mn-ea"/>
                          <a:cs typeface="+mn-cs"/>
                        </a:rPr>
                        <a:t>Find the sweet spot between quality images and page loading time</a:t>
                      </a:r>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Donald</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611170">
                <a:tc>
                  <a:txBody>
                    <a:bodyPr/>
                    <a:lstStyle/>
                    <a:p>
                      <a:pPr algn="ctr"/>
                      <a:r>
                        <a:rPr lang="en-US" sz="1800" b="1" dirty="0">
                          <a:solidFill>
                            <a:schemeClr val="bg1"/>
                          </a:solidFill>
                        </a:rPr>
                        <a:t>2</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High oil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A strong increase in oil price would create a high pressure on our profit margin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1</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000" kern="1200" dirty="0">
                          <a:solidFill>
                            <a:schemeClr val="tx2"/>
                          </a:solidFill>
                          <a:latin typeface="+mn-lt"/>
                          <a:ea typeface="+mn-ea"/>
                          <a:cs typeface="+mn-cs"/>
                        </a:rPr>
                        <a:t>Buy more oil than we need to build up our stock while the price of oil is at an affordable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Ralph</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611170">
                <a:tc>
                  <a:txBody>
                    <a:bodyPr/>
                    <a:lstStyle/>
                    <a:p>
                      <a:pPr algn="ctr"/>
                      <a:r>
                        <a:rPr lang="en-US" sz="1800" b="1" dirty="0">
                          <a:solidFill>
                            <a:schemeClr val="bg1"/>
                          </a:solidFill>
                        </a:rPr>
                        <a:t>3</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6</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611170">
                <a:tc>
                  <a:txBody>
                    <a:bodyPr/>
                    <a:lstStyle/>
                    <a:p>
                      <a:pPr algn="ctr"/>
                      <a:r>
                        <a:rPr lang="en-US" sz="1800" b="1" dirty="0">
                          <a:solidFill>
                            <a:schemeClr val="bg1"/>
                          </a:solidFill>
                        </a:rPr>
                        <a:t>4</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611170">
                <a:tc>
                  <a:txBody>
                    <a:bodyPr/>
                    <a:lstStyle/>
                    <a:p>
                      <a:pPr algn="ctr"/>
                      <a:r>
                        <a:rPr lang="en-US" sz="1800" b="1" dirty="0">
                          <a:solidFill>
                            <a:schemeClr val="bg1"/>
                          </a:solidFill>
                        </a:rPr>
                        <a:t>5</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611170">
                <a:tc>
                  <a:txBody>
                    <a:bodyPr/>
                    <a:lstStyle/>
                    <a:p>
                      <a:pPr algn="ctr"/>
                      <a:r>
                        <a:rPr lang="en-US" sz="1800" b="1" dirty="0">
                          <a:solidFill>
                            <a:schemeClr val="bg1"/>
                          </a:solidFill>
                        </a:rPr>
                        <a:t>6</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611170">
                <a:tc>
                  <a:txBody>
                    <a:bodyPr/>
                    <a:lstStyle/>
                    <a:p>
                      <a:pPr algn="ctr"/>
                      <a:r>
                        <a:rPr lang="en-US" sz="1800" b="1" dirty="0">
                          <a:solidFill>
                            <a:schemeClr val="bg1"/>
                          </a:solidFill>
                        </a:rPr>
                        <a:t>7</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
        <p:nvSpPr>
          <p:cNvPr id="15" name="Rounded Rectangle 131">
            <a:extLst>
              <a:ext uri="{FF2B5EF4-FFF2-40B4-BE49-F238E27FC236}">
                <a16:creationId xmlns:a16="http://schemas.microsoft.com/office/drawing/2014/main" id="{EEF272B5-B676-43D3-A2E6-FD83A340BBF0}"/>
              </a:ext>
            </a:extLst>
          </p:cNvPr>
          <p:cNvSpPr/>
          <p:nvPr/>
        </p:nvSpPr>
        <p:spPr bwMode="auto">
          <a:xfrm>
            <a:off x="9614263" y="335829"/>
            <a:ext cx="1972897" cy="221467"/>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defTabSz="623853" rtl="0" eaLnBrk="1" fontAlgn="auto" latinLnBrk="0" hangingPunct="1">
              <a:lnSpc>
                <a:spcPct val="100000"/>
              </a:lnSpc>
              <a:spcBef>
                <a:spcPts val="300"/>
              </a:spcBef>
              <a:spcAft>
                <a:spcPts val="300"/>
              </a:spcAft>
              <a:buClr>
                <a:srgbClr val="000000"/>
              </a:buClr>
              <a:buSzTx/>
              <a:buFontTx/>
              <a:buNone/>
              <a:tabLst/>
              <a:defRPr/>
            </a:pP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Low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priority (</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1</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 2</a:t>
            </a:r>
            <a:r>
              <a:rPr lang="en-GB" sz="800" b="1" kern="0" dirty="0">
                <a:solidFill>
                  <a:srgbClr val="FFFFFF"/>
                </a:solidFill>
                <a:latin typeface="Arial" panose="020B0604020202020204"/>
              </a:rPr>
              <a:t>,</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or 3) </a:t>
            </a:r>
            <a:endParaRPr kumimoji="0" lang="en-US" sz="8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 name="Rounded Rectangle 131">
            <a:extLst>
              <a:ext uri="{FF2B5EF4-FFF2-40B4-BE49-F238E27FC236}">
                <a16:creationId xmlns:a16="http://schemas.microsoft.com/office/drawing/2014/main" id="{AAF9FC20-02C3-4862-9325-1A4A588C82FE}"/>
              </a:ext>
            </a:extLst>
          </p:cNvPr>
          <p:cNvSpPr/>
          <p:nvPr/>
        </p:nvSpPr>
        <p:spPr bwMode="auto">
          <a:xfrm>
            <a:off x="9614263" y="622922"/>
            <a:ext cx="1972897" cy="221467"/>
          </a:xfrm>
          <a:prstGeom prst="roundRect">
            <a:avLst>
              <a:gd name="adj" fmla="val 3792"/>
            </a:avLst>
          </a:prstGeom>
          <a:solidFill>
            <a:srgbClr val="FFC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Medium </a:t>
            </a:r>
            <a:r>
              <a:rPr lang="en-GB" sz="800" b="1" kern="0">
                <a:solidFill>
                  <a:srgbClr val="FFFFFF"/>
                </a:solidFill>
                <a:latin typeface="Arial" panose="020B0604020202020204"/>
              </a:rPr>
              <a:t>priority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6)</a:t>
            </a:r>
            <a:endParaRPr lang="en-US" sz="800" b="1" kern="0" dirty="0">
              <a:solidFill>
                <a:srgbClr val="FFFFFF"/>
              </a:solidFill>
              <a:latin typeface="Arial" panose="020B0604020202020204"/>
            </a:endParaRPr>
          </a:p>
        </p:txBody>
      </p:sp>
      <p:sp>
        <p:nvSpPr>
          <p:cNvPr id="19" name="Rounded Rectangle 131">
            <a:extLst>
              <a:ext uri="{FF2B5EF4-FFF2-40B4-BE49-F238E27FC236}">
                <a16:creationId xmlns:a16="http://schemas.microsoft.com/office/drawing/2014/main" id="{77BBBDD1-CB08-45B2-A324-415853E5C568}"/>
              </a:ext>
            </a:extLst>
          </p:cNvPr>
          <p:cNvSpPr/>
          <p:nvPr/>
        </p:nvSpPr>
        <p:spPr bwMode="auto">
          <a:xfrm>
            <a:off x="9614263" y="910015"/>
            <a:ext cx="1972897" cy="221467"/>
          </a:xfrm>
          <a:prstGeom prst="roundRect">
            <a:avLst>
              <a:gd name="adj" fmla="val 3792"/>
            </a:avLst>
          </a:prstGeom>
          <a:solidFill>
            <a:srgbClr val="FF0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High </a:t>
            </a:r>
            <a:r>
              <a:rPr lang="en-GB" sz="800" b="1" kern="0">
                <a:solidFill>
                  <a:srgbClr val="FFFFFF"/>
                </a:solidFill>
                <a:latin typeface="Arial" panose="020B0604020202020204"/>
              </a:rPr>
              <a:t>priority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9)</a:t>
            </a:r>
            <a:endParaRPr lang="en-US" sz="800" b="1" kern="0" dirty="0">
              <a:solidFill>
                <a:srgbClr val="FFFFFF"/>
              </a:solidFill>
              <a:latin typeface="Arial" panose="020B0604020202020204"/>
            </a:endParaRPr>
          </a:p>
        </p:txBody>
      </p:sp>
      <p:sp>
        <p:nvSpPr>
          <p:cNvPr id="21" name="Oval 20">
            <a:extLst>
              <a:ext uri="{FF2B5EF4-FFF2-40B4-BE49-F238E27FC236}">
                <a16:creationId xmlns:a16="http://schemas.microsoft.com/office/drawing/2014/main" id="{DEAD642D-FE06-4E62-9E80-D0624E8068B2}"/>
              </a:ext>
            </a:extLst>
          </p:cNvPr>
          <p:cNvSpPr/>
          <p:nvPr/>
        </p:nvSpPr>
        <p:spPr bwMode="auto">
          <a:xfrm>
            <a:off x="8288593" y="2275160"/>
            <a:ext cx="159432" cy="153594"/>
          </a:xfrm>
          <a:prstGeom prst="ellipse">
            <a:avLst/>
          </a:prstGeom>
          <a:solidFill>
            <a:srgbClr val="FF0000"/>
          </a:soli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3" name="Oval 22">
            <a:extLst>
              <a:ext uri="{FF2B5EF4-FFF2-40B4-BE49-F238E27FC236}">
                <a16:creationId xmlns:a16="http://schemas.microsoft.com/office/drawing/2014/main" id="{1BFDB3B1-A074-42BE-BDC7-6208C40771E3}"/>
              </a:ext>
            </a:extLst>
          </p:cNvPr>
          <p:cNvSpPr/>
          <p:nvPr/>
        </p:nvSpPr>
        <p:spPr bwMode="auto">
          <a:xfrm>
            <a:off x="8286296" y="2965226"/>
            <a:ext cx="159432" cy="153594"/>
          </a:xfrm>
          <a:prstGeom prst="ellipse">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b="1" kern="0" dirty="0">
              <a:solidFill>
                <a:srgbClr val="FFFFFF"/>
              </a:solidFill>
              <a:latin typeface="Arial" panose="020B0604020202020204"/>
            </a:endParaRPr>
          </a:p>
        </p:txBody>
      </p:sp>
      <p:sp>
        <p:nvSpPr>
          <p:cNvPr id="25" name="Oval 24">
            <a:extLst>
              <a:ext uri="{FF2B5EF4-FFF2-40B4-BE49-F238E27FC236}">
                <a16:creationId xmlns:a16="http://schemas.microsoft.com/office/drawing/2014/main" id="{4A0BBC20-B160-4C45-8180-7E5EB91BFB57}"/>
              </a:ext>
            </a:extLst>
          </p:cNvPr>
          <p:cNvSpPr/>
          <p:nvPr/>
        </p:nvSpPr>
        <p:spPr bwMode="auto">
          <a:xfrm>
            <a:off x="8286296" y="3578495"/>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499954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Comprehensive </a:t>
            </a:r>
            <a:r>
              <a:rPr lang="en-US" sz="2400" kern="0" dirty="0"/>
              <a:t>risk</a:t>
            </a:r>
            <a:r>
              <a:rPr lang="en-US" sz="2400" kern="0"/>
              <a:t> log</a:t>
            </a:r>
            <a:br>
              <a:rPr lang="en-US" sz="2400" kern="0"/>
            </a:br>
            <a:r>
              <a:rPr lang="en-US" sz="2400" b="0" kern="0"/>
              <a:t>Descrip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1</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1985159"/>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a:t>
            </a:r>
            <a:r>
              <a:rPr lang="en-GB" sz="1800"/>
              <a:t>comprehensive </a:t>
            </a:r>
            <a:r>
              <a:rPr lang="en-GB" dirty="0"/>
              <a:t>risk</a:t>
            </a:r>
            <a:r>
              <a:rPr lang="en-GB"/>
              <a:t> log </a:t>
            </a:r>
            <a:r>
              <a:rPr lang="en-GB" sz="1800"/>
              <a:t>in </a:t>
            </a:r>
            <a:r>
              <a:rPr lang="en-GB" sz="1800" dirty="0"/>
              <a:t>Excel.</a:t>
            </a:r>
          </a:p>
          <a:p>
            <a:pPr>
              <a:spcBef>
                <a:spcPts val="600"/>
              </a:spcBef>
              <a:spcAft>
                <a:spcPts val="600"/>
              </a:spcAft>
            </a:pPr>
            <a:r>
              <a:rPr lang="en-GB" sz="1800" dirty="0"/>
              <a:t>This </a:t>
            </a:r>
            <a:r>
              <a:rPr lang="en-GB" sz="1800"/>
              <a:t>comprehensive </a:t>
            </a:r>
            <a:r>
              <a:rPr lang="en-GB" dirty="0"/>
              <a:t>risk</a:t>
            </a:r>
            <a:r>
              <a:rPr lang="en-GB"/>
              <a:t> log </a:t>
            </a:r>
            <a:r>
              <a:rPr lang="en-GB" sz="1800"/>
              <a:t>will </a:t>
            </a:r>
            <a:r>
              <a:rPr lang="en-GB" sz="1800" dirty="0"/>
              <a:t>be used when we have a long list of risks and need to provide a lot of details for </a:t>
            </a:r>
            <a:r>
              <a:rPr lang="en-GB" sz="1800"/>
              <a:t>each of </a:t>
            </a:r>
            <a:r>
              <a:rPr lang="en-GB" sz="1800" dirty="0"/>
              <a:t>them.</a:t>
            </a:r>
          </a:p>
          <a:p>
            <a:endParaRPr lang="en-GB" sz="1800" dirty="0"/>
          </a:p>
          <a:p>
            <a:endParaRPr lang="en-GB" dirty="0"/>
          </a:p>
          <a:p>
            <a:endParaRPr lang="en-AU" sz="1800" dirty="0"/>
          </a:p>
        </p:txBody>
      </p:sp>
      <p:sp>
        <p:nvSpPr>
          <p:cNvPr id="6" name="TextBox 5">
            <a:extLst>
              <a:ext uri="{FF2B5EF4-FFF2-40B4-BE49-F238E27FC236}">
                <a16:creationId xmlns:a16="http://schemas.microsoft.com/office/drawing/2014/main" id="{A7F84E3E-32ED-40C2-A14F-1D8399A3044C}"/>
              </a:ext>
            </a:extLst>
          </p:cNvPr>
          <p:cNvSpPr txBox="1"/>
          <p:nvPr/>
        </p:nvSpPr>
        <p:spPr>
          <a:xfrm>
            <a:off x="2694282" y="3326421"/>
            <a:ext cx="6198257" cy="523220"/>
          </a:xfrm>
          <a:prstGeom prst="rect">
            <a:avLst/>
          </a:prstGeom>
          <a:noFill/>
        </p:spPr>
        <p:txBody>
          <a:bodyPr wrap="square" rtlCol="0">
            <a:spAutoFit/>
          </a:bodyPr>
          <a:lstStyle/>
          <a:p>
            <a:pPr algn="ctr"/>
            <a:r>
              <a:rPr lang="en-GB" sz="1400" b="1" dirty="0"/>
              <a:t>Comprehensive Risk Log in Excel (for more details, open the Excel document “Comprehensive Risk Log”</a:t>
            </a:r>
            <a:endParaRPr lang="en-AU" sz="1400" b="1" dirty="0"/>
          </a:p>
        </p:txBody>
      </p:sp>
      <p:pic>
        <p:nvPicPr>
          <p:cNvPr id="10" name="Picture 9">
            <a:extLst>
              <a:ext uri="{FF2B5EF4-FFF2-40B4-BE49-F238E27FC236}">
                <a16:creationId xmlns:a16="http://schemas.microsoft.com/office/drawing/2014/main" id="{5E688EF2-DF13-4049-B8D7-5F9105EE4044}"/>
              </a:ext>
            </a:extLst>
          </p:cNvPr>
          <p:cNvPicPr>
            <a:picLocks noChangeAspect="1"/>
          </p:cNvPicPr>
          <p:nvPr/>
        </p:nvPicPr>
        <p:blipFill>
          <a:blip r:embed="rId5"/>
          <a:stretch>
            <a:fillRect/>
          </a:stretch>
        </p:blipFill>
        <p:spPr>
          <a:xfrm>
            <a:off x="1188720" y="3989327"/>
            <a:ext cx="9174012" cy="2434333"/>
          </a:xfrm>
          <a:prstGeom prst="rect">
            <a:avLst/>
          </a:prstGeom>
          <a:ln>
            <a:noFill/>
          </a:ln>
          <a:effectLst>
            <a:outerShdw blurRad="292100" dist="139700" dir="2700000" algn="tl" rotWithShape="0">
              <a:srgbClr val="333333">
                <a:alpha val="65000"/>
              </a:srgbClr>
            </a:outerShdw>
          </a:effectLst>
        </p:spPr>
      </p:pic>
      <p:pic>
        <p:nvPicPr>
          <p:cNvPr id="11" name="Picture 6" descr="Download Microsoft Excel Logo in SVG Vector or PNG File Format - Logo.wine">
            <a:extLst>
              <a:ext uri="{FF2B5EF4-FFF2-40B4-BE49-F238E27FC236}">
                <a16:creationId xmlns:a16="http://schemas.microsoft.com/office/drawing/2014/main" id="{0B8D8CBD-AD2C-4EEF-B7DA-CF306C620C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1660" y="3543839"/>
            <a:ext cx="1062143" cy="708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319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a:t>
            </a:r>
            <a:r>
              <a:rPr lang="en-GB" sz="1050">
                <a:solidFill>
                  <a:schemeClr val="bg1">
                    <a:lumMod val="50000"/>
                  </a:schemeClr>
                </a:solidFill>
              </a:rPr>
              <a:t>, vision</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a:t>
            </a:r>
            <a:r>
              <a:rPr lang="en-GB" sz="1050">
                <a:solidFill>
                  <a:schemeClr val="bg1">
                    <a:lumMod val="50000"/>
                  </a:schemeClr>
                </a:solidFill>
              </a:rPr>
              <a:t>, target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 </a:t>
            </a:r>
            <a:r>
              <a:rPr lang="en-GB" sz="1050">
                <a:solidFill>
                  <a:schemeClr val="bg1">
                    <a:lumMod val="50000"/>
                  </a:schemeClr>
                </a:solidFill>
              </a:rPr>
              <a:t>Framework </a:t>
            </a:r>
            <a:r>
              <a:rPr lang="en-GB" sz="1050" dirty="0">
                <a:solidFill>
                  <a:schemeClr val="bg1">
                    <a:lumMod val="50000"/>
                  </a:schemeClr>
                </a:solidFill>
              </a:rPr>
              <a:t>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Probability of the </a:t>
            </a:r>
            <a:r>
              <a:rPr lang="en-GB" sz="1050"/>
              <a:t>risk happening</a:t>
            </a:r>
            <a:endParaRPr lang="en-GB" sz="1050" dirty="0"/>
          </a:p>
          <a:p>
            <a:pPr marL="169863" indent="-169863">
              <a:spcBef>
                <a:spcPts val="400"/>
              </a:spcBef>
              <a:spcAft>
                <a:spcPts val="400"/>
              </a:spcAft>
              <a:buFont typeface="+mj-lt"/>
              <a:buAutoNum type="arabicPeriod"/>
            </a:pPr>
            <a:r>
              <a:rPr lang="en-GB" sz="1050" dirty="0"/>
              <a:t>Potential impact of the risk</a:t>
            </a:r>
          </a:p>
          <a:p>
            <a:pPr marL="169863" indent="-169863">
              <a:spcBef>
                <a:spcPts val="400"/>
              </a:spcBef>
              <a:spcAft>
                <a:spcPts val="400"/>
              </a:spcAft>
              <a:buFont typeface="+mj-lt"/>
              <a:buAutoNum type="arabicPeriod"/>
            </a:pPr>
            <a:r>
              <a:rPr lang="en-GB" sz="1050" dirty="0"/>
              <a:t>Risk value </a:t>
            </a:r>
          </a:p>
          <a:p>
            <a:pPr marL="169863" indent="-169863">
              <a:spcBef>
                <a:spcPts val="400"/>
              </a:spcBef>
              <a:spcAft>
                <a:spcPts val="400"/>
              </a:spcAft>
              <a:buFont typeface="+mj-lt"/>
              <a:buAutoNum type="arabicPeriod"/>
            </a:pPr>
            <a:endParaRPr lang="en-GB" sz="1050" dirty="0"/>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761831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410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y multiplying the “Probability” dimension by the “Impact” dimension, we will get 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grpSp>
        <p:nvGrpSpPr>
          <p:cNvPr id="31" name="Group 3">
            <a:extLst>
              <a:ext uri="{FF2B5EF4-FFF2-40B4-BE49-F238E27FC236}">
                <a16:creationId xmlns:a16="http://schemas.microsoft.com/office/drawing/2014/main" id="{A196AE8F-C81C-461E-8310-6E3AD0E01D47}"/>
              </a:ext>
            </a:extLst>
          </p:cNvPr>
          <p:cNvGrpSpPr/>
          <p:nvPr/>
        </p:nvGrpSpPr>
        <p:grpSpPr>
          <a:xfrm>
            <a:off x="1054218" y="2070100"/>
            <a:ext cx="10083564" cy="3556000"/>
            <a:chOff x="358511" y="2362200"/>
            <a:chExt cx="8426978" cy="2971800"/>
          </a:xfrm>
        </p:grpSpPr>
        <p:sp>
          <p:nvSpPr>
            <p:cNvPr id="32" name="Rectangle 24">
              <a:extLst>
                <a:ext uri="{FF2B5EF4-FFF2-40B4-BE49-F238E27FC236}">
                  <a16:creationId xmlns:a16="http://schemas.microsoft.com/office/drawing/2014/main" id="{EF2A0C6E-0A15-4FA4-A6F3-2D061B108769}"/>
                </a:ext>
              </a:extLst>
            </p:cNvPr>
            <p:cNvSpPr/>
            <p:nvPr/>
          </p:nvSpPr>
          <p:spPr bwMode="auto">
            <a:xfrm>
              <a:off x="3585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33" name="TextBox 25">
              <a:extLst>
                <a:ext uri="{FF2B5EF4-FFF2-40B4-BE49-F238E27FC236}">
                  <a16:creationId xmlns:a16="http://schemas.microsoft.com/office/drawing/2014/main" id="{DF4A6C6C-6E92-41F9-B075-06FF335A0BE5}"/>
                </a:ext>
              </a:extLst>
            </p:cNvPr>
            <p:cNvSpPr txBox="1"/>
            <p:nvPr/>
          </p:nvSpPr>
          <p:spPr>
            <a:xfrm>
              <a:off x="2046156" y="3508166"/>
              <a:ext cx="2057400" cy="1106017"/>
            </a:xfrm>
            <a:prstGeom prst="rect">
              <a:avLst/>
            </a:prstGeom>
            <a:noFill/>
          </p:spPr>
          <p:txBody>
            <a:bodyPr wrap="square" rtlCol="0">
              <a:spAutoFit/>
            </a:bodyPr>
            <a:lstStyle/>
            <a:p>
              <a:pPr algn="ctr"/>
              <a:r>
                <a:rPr lang="en-US" sz="8000" dirty="0">
                  <a:solidFill>
                    <a:schemeClr val="tx2"/>
                  </a:solidFill>
                </a:rPr>
                <a:t>X</a:t>
              </a:r>
            </a:p>
          </p:txBody>
        </p:sp>
        <p:sp>
          <p:nvSpPr>
            <p:cNvPr id="34" name="Rectangle 26">
              <a:extLst>
                <a:ext uri="{FF2B5EF4-FFF2-40B4-BE49-F238E27FC236}">
                  <a16:creationId xmlns:a16="http://schemas.microsoft.com/office/drawing/2014/main" id="{D4FA68D0-8E87-4F04-A093-46C3B12FC393}"/>
                </a:ext>
              </a:extLst>
            </p:cNvPr>
            <p:cNvSpPr/>
            <p:nvPr/>
          </p:nvSpPr>
          <p:spPr bwMode="auto">
            <a:xfrm>
              <a:off x="35589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35" name="Rectangle 27">
              <a:extLst>
                <a:ext uri="{FF2B5EF4-FFF2-40B4-BE49-F238E27FC236}">
                  <a16:creationId xmlns:a16="http://schemas.microsoft.com/office/drawing/2014/main" id="{5791243E-BCCF-44D8-A8A5-9AA3264BA333}"/>
                </a:ext>
              </a:extLst>
            </p:cNvPr>
            <p:cNvSpPr/>
            <p:nvPr/>
          </p:nvSpPr>
          <p:spPr bwMode="auto">
            <a:xfrm>
              <a:off x="3585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robability of the risk happening</a:t>
              </a:r>
            </a:p>
          </p:txBody>
        </p:sp>
        <p:sp>
          <p:nvSpPr>
            <p:cNvPr id="36" name="Rectangle 28">
              <a:extLst>
                <a:ext uri="{FF2B5EF4-FFF2-40B4-BE49-F238E27FC236}">
                  <a16:creationId xmlns:a16="http://schemas.microsoft.com/office/drawing/2014/main" id="{C59B7CF5-68D3-4A52-AB08-0374A482126D}"/>
                </a:ext>
              </a:extLst>
            </p:cNvPr>
            <p:cNvSpPr/>
            <p:nvPr/>
          </p:nvSpPr>
          <p:spPr bwMode="auto">
            <a:xfrm>
              <a:off x="35589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otential impact of the risk</a:t>
              </a:r>
            </a:p>
          </p:txBody>
        </p:sp>
        <p:sp>
          <p:nvSpPr>
            <p:cNvPr id="37" name="TextBox 29">
              <a:extLst>
                <a:ext uri="{FF2B5EF4-FFF2-40B4-BE49-F238E27FC236}">
                  <a16:creationId xmlns:a16="http://schemas.microsoft.com/office/drawing/2014/main" id="{F84E2F7A-6EEF-4BD1-8C1E-B3F4B5AE445E}"/>
                </a:ext>
              </a:extLst>
            </p:cNvPr>
            <p:cNvSpPr txBox="1"/>
            <p:nvPr/>
          </p:nvSpPr>
          <p:spPr>
            <a:xfrm>
              <a:off x="5143500" y="3400446"/>
              <a:ext cx="2057400" cy="1311787"/>
            </a:xfrm>
            <a:prstGeom prst="rect">
              <a:avLst/>
            </a:prstGeom>
            <a:noFill/>
          </p:spPr>
          <p:txBody>
            <a:bodyPr wrap="square" rtlCol="0">
              <a:spAutoFit/>
            </a:bodyPr>
            <a:lstStyle/>
            <a:p>
              <a:pPr algn="ctr"/>
              <a:r>
                <a:rPr lang="en-US" sz="9600" dirty="0">
                  <a:solidFill>
                    <a:schemeClr val="tx2"/>
                  </a:solidFill>
                </a:rPr>
                <a:t>=</a:t>
              </a:r>
            </a:p>
          </p:txBody>
        </p:sp>
        <p:sp>
          <p:nvSpPr>
            <p:cNvPr id="38" name="Rectangle 39">
              <a:extLst>
                <a:ext uri="{FF2B5EF4-FFF2-40B4-BE49-F238E27FC236}">
                  <a16:creationId xmlns:a16="http://schemas.microsoft.com/office/drawing/2014/main" id="{F575FA25-10C4-448E-9B45-178297466A09}"/>
                </a:ext>
              </a:extLst>
            </p:cNvPr>
            <p:cNvSpPr/>
            <p:nvPr/>
          </p:nvSpPr>
          <p:spPr bwMode="auto">
            <a:xfrm>
              <a:off x="6553200"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Risk Value</a:t>
              </a:r>
            </a:p>
          </p:txBody>
        </p:sp>
        <p:sp>
          <p:nvSpPr>
            <p:cNvPr id="39" name="Rectangle 40">
              <a:extLst>
                <a:ext uri="{FF2B5EF4-FFF2-40B4-BE49-F238E27FC236}">
                  <a16:creationId xmlns:a16="http://schemas.microsoft.com/office/drawing/2014/main" id="{7A158C23-4117-44FE-B386-654B61350F28}"/>
                </a:ext>
              </a:extLst>
            </p:cNvPr>
            <p:cNvSpPr/>
            <p:nvPr/>
          </p:nvSpPr>
          <p:spPr bwMode="auto">
            <a:xfrm>
              <a:off x="6553200"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2400" dirty="0">
                  <a:latin typeface="Arial" charset="0"/>
                  <a:cs typeface="Arial" charset="0"/>
                </a:rPr>
                <a:t>The risk value will help you prioritize your risks</a:t>
              </a:r>
            </a:p>
          </p:txBody>
        </p:sp>
      </p:grpSp>
      <p:pic>
        <p:nvPicPr>
          <p:cNvPr id="2" name="Graphic 1" descr="Clipboard">
            <a:extLst>
              <a:ext uri="{FF2B5EF4-FFF2-40B4-BE49-F238E27FC236}">
                <a16:creationId xmlns:a16="http://schemas.microsoft.com/office/drawing/2014/main" id="{3BDA960F-41D8-432D-A4F6-9AE6234CDB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281054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7458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a:t>
            </a:r>
            <a:r>
              <a:rPr lang="en-US" sz="2400" kern="0"/>
              <a:t>the probability of </a:t>
            </a:r>
            <a:r>
              <a:rPr lang="en-US" sz="2400" kern="0" dirty="0"/>
              <a:t>a </a:t>
            </a:r>
            <a:r>
              <a:rPr lang="en-US" sz="2400" kern="0"/>
              <a:t>risk happening, </a:t>
            </a:r>
            <a:r>
              <a:rPr lang="en-US" sz="2400" kern="0" dirty="0"/>
              <a:t>we can use a </a:t>
            </a:r>
            <a:r>
              <a:rPr lang="en-US" sz="2400" kern="0"/>
              <a:t>3-level or 5-level </a:t>
            </a:r>
            <a:r>
              <a:rPr lang="en-US" sz="2400" kern="0" dirty="0"/>
              <a:t>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41467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22538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Unlikely</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60395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41467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a:t>
            </a:r>
            <a:r>
              <a:rPr lang="en-AU" b="1">
                <a:solidFill>
                  <a:schemeClr val="tx2"/>
                </a:solidFill>
                <a:latin typeface="Arial" charset="0"/>
                <a:cs typeface="Arial" charset="0"/>
              </a:rPr>
              <a:t>% </a:t>
            </a:r>
            <a:r>
              <a:rPr lang="en-AU" b="1" dirty="0">
                <a:solidFill>
                  <a:schemeClr val="tx2"/>
                </a:solidFill>
                <a:latin typeface="Arial" charset="0"/>
                <a:cs typeface="Arial" charset="0"/>
              </a:rPr>
              <a:t>chance</a:t>
            </a:r>
            <a:r>
              <a:rPr lang="en-AU" b="1">
                <a:solidFill>
                  <a:schemeClr val="tx2"/>
                </a:solidFill>
                <a:latin typeface="Arial" charset="0"/>
                <a:cs typeface="Arial" charset="0"/>
              </a:rPr>
              <a:t> of happening</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22538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Less than 20</a:t>
            </a:r>
            <a:r>
              <a:rPr lang="en-AU" b="1">
                <a:solidFill>
                  <a:schemeClr val="tx2"/>
                </a:solidFill>
                <a:latin typeface="Arial" charset="0"/>
                <a:cs typeface="Arial" charset="0"/>
              </a:rPr>
              <a:t>% </a:t>
            </a:r>
            <a:r>
              <a:rPr lang="en-AU" b="1" dirty="0">
                <a:solidFill>
                  <a:schemeClr val="tx2"/>
                </a:solidFill>
                <a:latin typeface="Arial" charset="0"/>
                <a:cs typeface="Arial" charset="0"/>
              </a:rPr>
              <a:t>chance</a:t>
            </a:r>
            <a:r>
              <a:rPr lang="en-AU" b="1">
                <a:solidFill>
                  <a:schemeClr val="tx2"/>
                </a:solidFill>
                <a:latin typeface="Arial" charset="0"/>
                <a:cs typeface="Arial" charset="0"/>
              </a:rPr>
              <a:t> of happening</a:t>
            </a:r>
            <a:endParaRPr lang="en-AU" b="1" u="sng" dirty="0">
              <a:solidFill>
                <a:schemeClr val="tx2"/>
              </a:solidFill>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60395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a:solidFill>
                  <a:schemeClr val="tx2"/>
                </a:solidFill>
                <a:latin typeface="Arial" charset="0"/>
                <a:cs typeface="Arial" charset="0"/>
              </a:rPr>
              <a:t>Over 60% </a:t>
            </a:r>
            <a:r>
              <a:rPr lang="en-AU" b="1" dirty="0">
                <a:solidFill>
                  <a:schemeClr val="tx2"/>
                </a:solidFill>
                <a:latin typeface="Arial" charset="0"/>
                <a:cs typeface="Arial" charset="0"/>
              </a:rPr>
              <a:t>chances</a:t>
            </a:r>
            <a:r>
              <a:rPr lang="en-AU" b="1">
                <a:solidFill>
                  <a:schemeClr val="tx2"/>
                </a:solidFill>
                <a:latin typeface="Arial" charset="0"/>
                <a:cs typeface="Arial" charset="0"/>
              </a:rPr>
              <a:t> </a:t>
            </a:r>
            <a:r>
              <a:rPr kumimoji="0" lang="en-AU" b="1" i="0" u="none" strike="noStrike" cap="none" normalizeH="0" baseline="0">
                <a:ln>
                  <a:noFill/>
                </a:ln>
                <a:solidFill>
                  <a:schemeClr val="tx2"/>
                </a:solidFill>
                <a:effectLst/>
                <a:latin typeface="Arial" charset="0"/>
                <a:cs typeface="Arial" charset="0"/>
              </a:rPr>
              <a:t>of </a:t>
            </a:r>
            <a:r>
              <a:rPr lang="en-AU" b="1">
                <a:solidFill>
                  <a:schemeClr val="tx2"/>
                </a:solidFill>
                <a:latin typeface="Arial" charset="0"/>
                <a:cs typeface="Arial" charset="0"/>
              </a:rPr>
              <a:t>happening</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167429"/>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167429"/>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Probability 3-level rating </a:t>
            </a:r>
          </a:p>
        </p:txBody>
      </p:sp>
      <p:pic>
        <p:nvPicPr>
          <p:cNvPr id="2" name="Graphic 1" descr="Clipboard">
            <a:extLst>
              <a:ext uri="{FF2B5EF4-FFF2-40B4-BE49-F238E27FC236}">
                <a16:creationId xmlns:a16="http://schemas.microsoft.com/office/drawing/2014/main" id="{FD962C3B-EB62-4D3F-B1EA-BA1CE63C55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4169770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V</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t>3-by-3 risk </a:t>
            </a:r>
            <a:r>
              <a:rPr lang="en-GB" sz="1050" dirty="0"/>
              <a:t>prioritization matrix </a:t>
            </a:r>
            <a:r>
              <a:rPr lang="en-GB" sz="1050"/>
              <a:t>in PowerPoint and </a:t>
            </a:r>
            <a:r>
              <a:rPr lang="en-GB" sz="1050" dirty="0"/>
              <a:t>Excel</a:t>
            </a:r>
          </a:p>
          <a:p>
            <a:pPr marL="169863" indent="-169863">
              <a:spcBef>
                <a:spcPts val="400"/>
              </a:spcBef>
              <a:spcAft>
                <a:spcPts val="400"/>
              </a:spcAft>
              <a:buFont typeface="+mj-lt"/>
              <a:buAutoNum type="arabicPeriod"/>
            </a:pPr>
            <a:r>
              <a:rPr lang="en-GB" sz="1050"/>
              <a:t>5-by-5 risk </a:t>
            </a:r>
            <a:r>
              <a:rPr lang="en-GB" sz="1050" dirty="0"/>
              <a:t>prioritization matrix </a:t>
            </a:r>
            <a:r>
              <a:rPr lang="en-GB" sz="1050"/>
              <a:t>in PowerPoint and </a:t>
            </a:r>
            <a:r>
              <a:rPr lang="en-GB" sz="1050" dirty="0"/>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90418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1 screenshot </a:t>
            </a:r>
            <a:r>
              <a:rPr lang="en-US" sz="2700"/>
              <a:t>from Phase IV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6" name="TextBox 35">
            <a:extLst>
              <a:ext uri="{FF2B5EF4-FFF2-40B4-BE49-F238E27FC236}">
                <a16:creationId xmlns:a16="http://schemas.microsoft.com/office/drawing/2014/main" id="{70574418-20AB-4F99-B27B-9ABA8E68A9A4}"/>
              </a:ext>
            </a:extLst>
          </p:cNvPr>
          <p:cNvSpPr txBox="1"/>
          <p:nvPr/>
        </p:nvSpPr>
        <p:spPr>
          <a:xfrm>
            <a:off x="4404680" y="1802015"/>
            <a:ext cx="3602995" cy="307777"/>
          </a:xfrm>
          <a:prstGeom prst="rect">
            <a:avLst/>
          </a:prstGeom>
          <a:noFill/>
        </p:spPr>
        <p:txBody>
          <a:bodyPr wrap="square" rtlCol="0">
            <a:spAutoFit/>
          </a:bodyPr>
          <a:lstStyle/>
          <a:p>
            <a:pPr algn="ctr"/>
            <a:r>
              <a:rPr lang="en-GB" sz="1400" b="1" dirty="0"/>
              <a:t>Risk Prioritization Matrix</a:t>
            </a:r>
            <a:endParaRPr lang="en-AU" sz="1400" b="1" dirty="0"/>
          </a:p>
        </p:txBody>
      </p:sp>
      <p:pic>
        <p:nvPicPr>
          <p:cNvPr id="2" name="Picture 1">
            <a:extLst>
              <a:ext uri="{FF2B5EF4-FFF2-40B4-BE49-F238E27FC236}">
                <a16:creationId xmlns:a16="http://schemas.microsoft.com/office/drawing/2014/main" id="{85842068-8E19-40AB-BEFB-F0756D16F587}"/>
              </a:ext>
            </a:extLst>
          </p:cNvPr>
          <p:cNvPicPr>
            <a:picLocks noChangeAspect="1"/>
          </p:cNvPicPr>
          <p:nvPr/>
        </p:nvPicPr>
        <p:blipFill>
          <a:blip r:embed="rId6"/>
          <a:stretch>
            <a:fillRect/>
          </a:stretch>
        </p:blipFill>
        <p:spPr>
          <a:xfrm>
            <a:off x="2703156" y="2212610"/>
            <a:ext cx="6694400" cy="3765600"/>
          </a:xfrm>
          <a:prstGeom prst="rect">
            <a:avLst/>
          </a:prstGeom>
          <a:ln>
            <a:noFill/>
          </a:ln>
          <a:effectLst>
            <a:outerShdw blurRad="292100" dist="139700" dir="2700000" algn="tl" rotWithShape="0">
              <a:srgbClr val="333333">
                <a:alpha val="65000"/>
              </a:srgbClr>
            </a:outerShdw>
          </a:effectLst>
        </p:spPr>
      </p:pic>
      <p:pic>
        <p:nvPicPr>
          <p:cNvPr id="33" name="Picture 2">
            <a:extLst>
              <a:ext uri="{FF2B5EF4-FFF2-40B4-BE49-F238E27FC236}">
                <a16:creationId xmlns:a16="http://schemas.microsoft.com/office/drawing/2014/main" id="{F9383CE5-DBF8-4438-B0CC-6FA8C09B75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1307" y="2109792"/>
            <a:ext cx="314095" cy="292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1628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V</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Response options</a:t>
            </a:r>
          </a:p>
          <a:p>
            <a:pPr marL="169863" indent="-169863">
              <a:spcBef>
                <a:spcPts val="400"/>
              </a:spcBef>
              <a:spcAft>
                <a:spcPts val="400"/>
              </a:spcAft>
              <a:buFont typeface="+mj-lt"/>
              <a:buAutoNum type="arabicPeriod"/>
            </a:pPr>
            <a:r>
              <a:rPr lang="en-GB" sz="1050" dirty="0"/>
              <a:t>Examples </a:t>
            </a:r>
          </a:p>
          <a:p>
            <a:pPr marL="169863" indent="-169863">
              <a:spcBef>
                <a:spcPts val="400"/>
              </a:spcBef>
              <a:spcAft>
                <a:spcPts val="400"/>
              </a:spcAft>
              <a:buFont typeface="+mj-lt"/>
              <a:buAutoNum type="arabicPeriod"/>
            </a:pPr>
            <a:r>
              <a:rPr lang="en-GB" sz="1050" dirty="0"/>
              <a:t>Actions, deadlines  and responsibilities</a:t>
            </a:r>
          </a:p>
          <a:p>
            <a:pPr marL="169863" indent="-169863">
              <a:spcBef>
                <a:spcPts val="400"/>
              </a:spcBef>
              <a:spcAft>
                <a:spcPts val="400"/>
              </a:spcAft>
              <a:buFont typeface="+mj-lt"/>
              <a:buAutoNum type="arabicPeriod"/>
            </a:pPr>
            <a:r>
              <a:rPr lang="en-GB" sz="1050" dirty="0"/>
              <a:t>Dashboard</a:t>
            </a:r>
          </a:p>
          <a:p>
            <a:pPr marL="169863" indent="-169863">
              <a:spcBef>
                <a:spcPts val="400"/>
              </a:spcBef>
              <a:spcAft>
                <a:spcPts val="400"/>
              </a:spcAft>
              <a:buFont typeface="+mj-lt"/>
              <a:buAutoNum type="arabicPeriod"/>
            </a:pPr>
            <a:endParaRPr lang="en-GB" sz="1050" dirty="0"/>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286846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identified 6 types of mitigation strategies</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
        <p:nvSpPr>
          <p:cNvPr id="13" name="Rectangle 12">
            <a:extLst>
              <a:ext uri="{FF2B5EF4-FFF2-40B4-BE49-F238E27FC236}">
                <a16:creationId xmlns:a16="http://schemas.microsoft.com/office/drawing/2014/main" id="{C9EAB343-D860-4D1D-A61B-AB4C77809428}"/>
              </a:ext>
            </a:extLst>
          </p:cNvPr>
          <p:cNvSpPr/>
          <p:nvPr/>
        </p:nvSpPr>
        <p:spPr>
          <a:xfrm>
            <a:off x="630752" y="1721719"/>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A</a:t>
            </a: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void a threat</a:t>
            </a:r>
          </a:p>
        </p:txBody>
      </p:sp>
      <p:sp>
        <p:nvSpPr>
          <p:cNvPr id="15" name="Rectangle 14">
            <a:extLst>
              <a:ext uri="{FF2B5EF4-FFF2-40B4-BE49-F238E27FC236}">
                <a16:creationId xmlns:a16="http://schemas.microsoft.com/office/drawing/2014/main" id="{2200F2C2-DD6F-4607-8802-490024301F2C}"/>
              </a:ext>
            </a:extLst>
          </p:cNvPr>
          <p:cNvSpPr/>
          <p:nvPr/>
        </p:nvSpPr>
        <p:spPr>
          <a:xfrm>
            <a:off x="630752" y="2537070"/>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Reduce a threat</a:t>
            </a:r>
            <a:endParaRPr lang="en-US" sz="1400" b="1" dirty="0">
              <a:solidFill>
                <a:schemeClr val="tx1"/>
              </a:solidFill>
              <a:latin typeface="Arial" panose="020B0604020202020204"/>
            </a:endParaRPr>
          </a:p>
        </p:txBody>
      </p:sp>
      <p:sp>
        <p:nvSpPr>
          <p:cNvPr id="16" name="Rectangle 15">
            <a:extLst>
              <a:ext uri="{FF2B5EF4-FFF2-40B4-BE49-F238E27FC236}">
                <a16:creationId xmlns:a16="http://schemas.microsoft.com/office/drawing/2014/main" id="{6AA1FB8D-19D9-4BB6-AD38-F79CCA442049}"/>
              </a:ext>
            </a:extLst>
          </p:cNvPr>
          <p:cNvSpPr/>
          <p:nvPr/>
        </p:nvSpPr>
        <p:spPr>
          <a:xfrm>
            <a:off x="630752" y="3352421"/>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Transfer the risk</a:t>
            </a:r>
          </a:p>
        </p:txBody>
      </p:sp>
      <p:sp>
        <p:nvSpPr>
          <p:cNvPr id="17" name="Rectangle 16">
            <a:extLst>
              <a:ext uri="{FF2B5EF4-FFF2-40B4-BE49-F238E27FC236}">
                <a16:creationId xmlns:a16="http://schemas.microsoft.com/office/drawing/2014/main" id="{9F7BFCB5-0788-44D9-8C22-7D68A5574305}"/>
              </a:ext>
            </a:extLst>
          </p:cNvPr>
          <p:cNvSpPr/>
          <p:nvPr/>
        </p:nvSpPr>
        <p:spPr>
          <a:xfrm>
            <a:off x="630752" y="4167772"/>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Share the risk</a:t>
            </a:r>
            <a:endParaRPr lang="en-US" sz="1400" b="1" dirty="0">
              <a:solidFill>
                <a:schemeClr val="tx1"/>
              </a:solidFill>
              <a:latin typeface="Arial" panose="020B0604020202020204"/>
            </a:endParaRPr>
          </a:p>
        </p:txBody>
      </p:sp>
      <p:sp>
        <p:nvSpPr>
          <p:cNvPr id="18" name="Rectangle 17">
            <a:extLst>
              <a:ext uri="{FF2B5EF4-FFF2-40B4-BE49-F238E27FC236}">
                <a16:creationId xmlns:a16="http://schemas.microsoft.com/office/drawing/2014/main" id="{3E679C7C-9D53-4674-A26A-B8F0AE3955C0}"/>
              </a:ext>
            </a:extLst>
          </p:cNvPr>
          <p:cNvSpPr/>
          <p:nvPr/>
        </p:nvSpPr>
        <p:spPr>
          <a:xfrm>
            <a:off x="630752" y="4983123"/>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Accept the risk</a:t>
            </a:r>
            <a:endParaRPr lang="en-US" sz="14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6CABB1EC-A5F9-4ED1-BC5C-CC0F35AB0719}"/>
              </a:ext>
            </a:extLst>
          </p:cNvPr>
          <p:cNvSpPr/>
          <p:nvPr/>
        </p:nvSpPr>
        <p:spPr>
          <a:xfrm>
            <a:off x="630752" y="5798474"/>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Prepare a contingency plan</a:t>
            </a:r>
            <a:endParaRPr lang="en-US" sz="14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DF154A28-7706-4495-B694-46320ABBBF18}"/>
              </a:ext>
            </a:extLst>
          </p:cNvPr>
          <p:cNvSpPr/>
          <p:nvPr/>
        </p:nvSpPr>
        <p:spPr>
          <a:xfrm>
            <a:off x="3156781" y="1721719"/>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is about making the uncertain situation certain by removing the risk, often by removing the cause of the threat </a:t>
            </a:r>
          </a:p>
        </p:txBody>
      </p:sp>
      <p:sp>
        <p:nvSpPr>
          <p:cNvPr id="21" name="Rectangle 20">
            <a:extLst>
              <a:ext uri="{FF2B5EF4-FFF2-40B4-BE49-F238E27FC236}">
                <a16:creationId xmlns:a16="http://schemas.microsoft.com/office/drawing/2014/main" id="{146FFDF9-F9A4-48AD-9C68-3620A094F1A0}"/>
              </a:ext>
            </a:extLst>
          </p:cNvPr>
          <p:cNvSpPr/>
          <p:nvPr/>
        </p:nvSpPr>
        <p:spPr>
          <a:xfrm>
            <a:off x="3156781" y="2537070"/>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aking action now to change the probability and/or impact of a threat</a:t>
            </a:r>
          </a:p>
        </p:txBody>
      </p:sp>
      <p:sp>
        <p:nvSpPr>
          <p:cNvPr id="22" name="Rectangle 21">
            <a:extLst>
              <a:ext uri="{FF2B5EF4-FFF2-40B4-BE49-F238E27FC236}">
                <a16:creationId xmlns:a16="http://schemas.microsoft.com/office/drawing/2014/main" id="{56DE0914-AE6C-4CF4-9ACB-10B07E980C32}"/>
              </a:ext>
            </a:extLst>
          </p:cNvPr>
          <p:cNvSpPr/>
          <p:nvPr/>
        </p:nvSpPr>
        <p:spPr>
          <a:xfrm>
            <a:off x="3156781" y="3352421"/>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ransferring part of the risk to </a:t>
            </a:r>
            <a:r>
              <a:rPr lang="en-GB" sz="1400">
                <a:solidFill>
                  <a:schemeClr val="tx1"/>
                </a:solidFill>
                <a:latin typeface="Arial" panose="020B0604020202020204"/>
              </a:rPr>
              <a:t>a third party(</a:t>
            </a:r>
            <a:r>
              <a:rPr lang="en-GB" sz="1400" dirty="0">
                <a:solidFill>
                  <a:schemeClr val="tx1"/>
                </a:solidFill>
                <a:latin typeface="Arial" panose="020B0604020202020204"/>
              </a:rPr>
              <a:t>e</a:t>
            </a:r>
            <a:r>
              <a:rPr lang="en-GB" sz="1400">
                <a:solidFill>
                  <a:schemeClr val="tx1"/>
                </a:solidFill>
                <a:latin typeface="Arial" panose="020B0604020202020204"/>
              </a:rPr>
              <a:t>.g., taking </a:t>
            </a:r>
            <a:r>
              <a:rPr lang="en-GB" sz="1400" dirty="0">
                <a:solidFill>
                  <a:schemeClr val="tx1"/>
                </a:solidFill>
                <a:latin typeface="Arial" panose="020B0604020202020204"/>
              </a:rPr>
              <a:t>out</a:t>
            </a:r>
            <a:r>
              <a:rPr lang="en-GB" sz="1400">
                <a:solidFill>
                  <a:schemeClr val="tx1"/>
                </a:solidFill>
                <a:latin typeface="Arial" panose="020B0604020202020204"/>
              </a:rPr>
              <a:t> an </a:t>
            </a:r>
            <a:r>
              <a:rPr lang="en-GB" sz="1400" dirty="0">
                <a:solidFill>
                  <a:schemeClr val="tx1"/>
                </a:solidFill>
                <a:latin typeface="Arial" panose="020B0604020202020204"/>
              </a:rPr>
              <a:t>insurance policy)</a:t>
            </a:r>
          </a:p>
        </p:txBody>
      </p:sp>
      <p:sp>
        <p:nvSpPr>
          <p:cNvPr id="23" name="Rectangle 22">
            <a:extLst>
              <a:ext uri="{FF2B5EF4-FFF2-40B4-BE49-F238E27FC236}">
                <a16:creationId xmlns:a16="http://schemas.microsoft.com/office/drawing/2014/main" id="{E9AAEA20-3E4C-4171-91EF-8FFD785C13D6}"/>
              </a:ext>
            </a:extLst>
          </p:cNvPr>
          <p:cNvSpPr/>
          <p:nvPr/>
        </p:nvSpPr>
        <p:spPr>
          <a:xfrm>
            <a:off x="3156781" y="4167772"/>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sharing the risk with another entity or </a:t>
            </a:r>
            <a:r>
              <a:rPr lang="en-GB" sz="1400">
                <a:solidFill>
                  <a:schemeClr val="tx1"/>
                </a:solidFill>
                <a:latin typeface="Arial" panose="020B0604020202020204"/>
              </a:rPr>
              <a:t>multiple entities </a:t>
            </a:r>
            <a:r>
              <a:rPr lang="en-GB" sz="1400" dirty="0">
                <a:solidFill>
                  <a:schemeClr val="tx1"/>
                </a:solidFill>
                <a:latin typeface="Arial" panose="020B0604020202020204"/>
              </a:rPr>
              <a:t>in order to minimize the potential impact on one single entity</a:t>
            </a:r>
            <a:endParaRPr lang="en-US" sz="1400" dirty="0">
              <a:solidFill>
                <a:schemeClr val="tx1"/>
              </a:solidFill>
              <a:latin typeface="Arial" panose="020B0604020202020204"/>
            </a:endParaRPr>
          </a:p>
        </p:txBody>
      </p:sp>
      <p:sp>
        <p:nvSpPr>
          <p:cNvPr id="24" name="Rectangle 23">
            <a:extLst>
              <a:ext uri="{FF2B5EF4-FFF2-40B4-BE49-F238E27FC236}">
                <a16:creationId xmlns:a16="http://schemas.microsoft.com/office/drawing/2014/main" id="{2C5DBDE2-E40D-4B68-ACB9-FF00936FE4E5}"/>
              </a:ext>
            </a:extLst>
          </p:cNvPr>
          <p:cNvSpPr/>
          <p:nvPr/>
        </p:nvSpPr>
        <p:spPr>
          <a:xfrm>
            <a:off x="3156781" y="4983123"/>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a:t>
            </a:r>
            <a:r>
              <a:rPr kumimoji="0" lang="en-GB" sz="1400" i="0" u="none" strike="noStrike" kern="1200" cap="none" spc="0" normalizeH="0" baseline="0" noProof="0">
                <a:ln>
                  <a:noFill/>
                </a:ln>
                <a:solidFill>
                  <a:schemeClr val="tx1"/>
                </a:solidFill>
                <a:effectLst/>
                <a:uLnTx/>
                <a:uFillTx/>
                <a:latin typeface="Arial" panose="020B0604020202020204"/>
                <a:ea typeface="+mn-ea"/>
                <a:cs typeface="+mn-cs"/>
              </a:rPr>
              <a:t>may occur and to </a:t>
            </a: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ake no action, exposing itself to the full possible impact</a:t>
            </a:r>
          </a:p>
        </p:txBody>
      </p:sp>
      <p:sp>
        <p:nvSpPr>
          <p:cNvPr id="25" name="Rectangle 24">
            <a:extLst>
              <a:ext uri="{FF2B5EF4-FFF2-40B4-BE49-F238E27FC236}">
                <a16:creationId xmlns:a16="http://schemas.microsoft.com/office/drawing/2014/main" id="{D1D54D59-5272-4E58-B4FF-6251AE0D01C1}"/>
              </a:ext>
            </a:extLst>
          </p:cNvPr>
          <p:cNvSpPr/>
          <p:nvPr/>
        </p:nvSpPr>
        <p:spPr>
          <a:xfrm>
            <a:off x="3156781" y="5798474"/>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a:t>
            </a:r>
            <a:r>
              <a:rPr kumimoji="0" lang="en-GB" sz="1400" i="0" u="none" strike="noStrike" kern="1200" cap="none" spc="0" normalizeH="0" baseline="0" noProof="0">
                <a:ln>
                  <a:noFill/>
                </a:ln>
                <a:solidFill>
                  <a:schemeClr val="tx1"/>
                </a:solidFill>
                <a:effectLst/>
                <a:uLnTx/>
                <a:uFillTx/>
                <a:latin typeface="Arial" panose="020B0604020202020204"/>
                <a:ea typeface="+mn-ea"/>
                <a:cs typeface="+mn-cs"/>
              </a:rPr>
              <a:t>may occur and to </a:t>
            </a: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ake no immediate action, but puts in place a series of contingencies to deal with the potential impact</a:t>
            </a:r>
          </a:p>
        </p:txBody>
      </p:sp>
    </p:spTree>
    <p:extLst>
      <p:ext uri="{BB962C8B-B14F-4D97-AF65-F5344CB8AC3E}">
        <p14:creationId xmlns:p14="http://schemas.microsoft.com/office/powerpoint/2010/main" val="419877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define and implement our mitigation strategies by using our comprehensive risk log in Excel</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26" name="Picture 25">
            <a:extLst>
              <a:ext uri="{FF2B5EF4-FFF2-40B4-BE49-F238E27FC236}">
                <a16:creationId xmlns:a16="http://schemas.microsoft.com/office/drawing/2014/main" id="{4A9EE507-82E3-42FD-BEF6-71ABA0C91869}"/>
              </a:ext>
            </a:extLst>
          </p:cNvPr>
          <p:cNvPicPr>
            <a:picLocks noChangeAspect="1"/>
          </p:cNvPicPr>
          <p:nvPr/>
        </p:nvPicPr>
        <p:blipFill>
          <a:blip r:embed="rId4"/>
          <a:stretch>
            <a:fillRect/>
          </a:stretch>
        </p:blipFill>
        <p:spPr>
          <a:xfrm>
            <a:off x="725165" y="2515305"/>
            <a:ext cx="10913333" cy="2895863"/>
          </a:xfrm>
          <a:prstGeom prst="rect">
            <a:avLst/>
          </a:prstGeom>
          <a:ln>
            <a:noFill/>
          </a:ln>
          <a:effectLst>
            <a:outerShdw blurRad="292100" dist="139700" dir="2700000" algn="tl" rotWithShape="0">
              <a:srgbClr val="333333">
                <a:alpha val="65000"/>
              </a:srgbClr>
            </a:outerShdw>
          </a:effectLst>
        </p:spPr>
      </p:pic>
      <p:pic>
        <p:nvPicPr>
          <p:cNvPr id="27" name="Picture 6" descr="Download Microsoft Excel Logo in SVG Vector or PNG File Format - Logo.wine">
            <a:extLst>
              <a:ext uri="{FF2B5EF4-FFF2-40B4-BE49-F238E27FC236}">
                <a16:creationId xmlns:a16="http://schemas.microsoft.com/office/drawing/2014/main" id="{A863A16B-1FEF-4B6C-BB2C-ABF5FD5CFC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97125" y="2188613"/>
            <a:ext cx="980075" cy="653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575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ontext and objectives of having a </a:t>
            </a:r>
            <a:r>
              <a:rPr lang="en-GB" sz="2400" kern="0"/>
              <a:t>clear </a:t>
            </a:r>
            <a:r>
              <a:rPr lang="en-GB" sz="2400" kern="0" dirty="0"/>
              <a:t>risk</a:t>
            </a:r>
            <a:r>
              <a:rPr lang="en-GB" sz="2400" kern="0"/>
              <a:t> management approach</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673679"/>
            <a:ext cx="11073049" cy="4526880"/>
          </a:xfrm>
          <a:prstGeom prst="rect">
            <a:avLst/>
          </a:prstGeom>
          <a:noFill/>
        </p:spPr>
        <p:txBody>
          <a:bodyPr wrap="square" rtlCol="0">
            <a:spAutoFit/>
          </a:bodyPr>
          <a:lstStyle/>
          <a:p>
            <a:pPr>
              <a:spcBef>
                <a:spcPts val="500"/>
              </a:spcBef>
              <a:spcAft>
                <a:spcPts val="500"/>
              </a:spcAft>
            </a:pPr>
            <a:r>
              <a:rPr lang="en-GB" b="1" dirty="0"/>
              <a:t>Context</a:t>
            </a:r>
          </a:p>
          <a:p>
            <a:pPr>
              <a:spcBef>
                <a:spcPts val="500"/>
              </a:spcBef>
              <a:spcAft>
                <a:spcPts val="500"/>
              </a:spcAft>
            </a:pPr>
            <a:r>
              <a:rPr lang="en-GB" dirty="0"/>
              <a:t>Risk management is an important function in organizations today. Companies undertake increasingly complex and ambitious initiatives, and those initiatives must be executed successfully, in an uncertain and often risky environment.</a:t>
            </a:r>
          </a:p>
          <a:p>
            <a:pPr>
              <a:spcBef>
                <a:spcPts val="500"/>
              </a:spcBef>
              <a:spcAft>
                <a:spcPts val="500"/>
              </a:spcAft>
            </a:pPr>
            <a:endParaRPr lang="en-GB" dirty="0"/>
          </a:p>
          <a:p>
            <a:pPr>
              <a:spcBef>
                <a:spcPts val="500"/>
              </a:spcBef>
              <a:spcAft>
                <a:spcPts val="500"/>
              </a:spcAft>
            </a:pPr>
            <a:r>
              <a:rPr lang="en-GB" b="1" dirty="0"/>
              <a:t>Objectives of </a:t>
            </a:r>
            <a:r>
              <a:rPr lang="en-GB" sz="1800" b="1" kern="0" dirty="0"/>
              <a:t>having a </a:t>
            </a:r>
            <a:r>
              <a:rPr lang="en-GB" sz="1800" b="1" kern="0"/>
              <a:t>clear </a:t>
            </a:r>
            <a:r>
              <a:rPr lang="en-GB" b="1" kern="0" dirty="0"/>
              <a:t>risk</a:t>
            </a:r>
            <a:r>
              <a:rPr lang="en-GB" b="1" kern="0"/>
              <a:t> management </a:t>
            </a:r>
            <a:r>
              <a:rPr lang="en-GB" sz="1800" b="1" kern="0"/>
              <a:t>approach</a:t>
            </a:r>
            <a:endParaRPr lang="en-GB" sz="1800" b="1" kern="0" dirty="0"/>
          </a:p>
          <a:p>
            <a:pPr marL="342900" indent="-160338">
              <a:spcBef>
                <a:spcPts val="300"/>
              </a:spcBef>
              <a:spcAft>
                <a:spcPts val="300"/>
              </a:spcAft>
              <a:buFont typeface="Arial" panose="020B0604020202020204" pitchFamily="34" charset="0"/>
              <a:buChar char="•"/>
            </a:pPr>
            <a:r>
              <a:rPr lang="en-GB" dirty="0"/>
              <a:t>Provide a systematic approach to the early identification and management of risks</a:t>
            </a:r>
          </a:p>
          <a:p>
            <a:pPr marL="342900" indent="-160338">
              <a:spcBef>
                <a:spcPts val="300"/>
              </a:spcBef>
              <a:spcAft>
                <a:spcPts val="300"/>
              </a:spcAft>
              <a:buFont typeface="Arial" panose="020B0604020202020204" pitchFamily="34" charset="0"/>
              <a:buChar char="•"/>
            </a:pPr>
            <a:r>
              <a:rPr lang="en-GB" dirty="0"/>
              <a:t>Provide consistent risk assessment criteria</a:t>
            </a:r>
          </a:p>
          <a:p>
            <a:pPr marL="342900" indent="-160338">
              <a:spcBef>
                <a:spcPts val="300"/>
              </a:spcBef>
              <a:spcAft>
                <a:spcPts val="300"/>
              </a:spcAft>
              <a:buFont typeface="Arial" panose="020B0604020202020204" pitchFamily="34" charset="0"/>
              <a:buChar char="•"/>
            </a:pPr>
            <a:r>
              <a:rPr lang="en-GB" dirty="0"/>
              <a:t>Make available accurate and concise risk information that informs </a:t>
            </a:r>
            <a:r>
              <a:rPr lang="en-GB"/>
              <a:t>decision making</a:t>
            </a:r>
            <a:r>
              <a:rPr lang="en-GB" dirty="0"/>
              <a:t>,</a:t>
            </a:r>
            <a:r>
              <a:rPr lang="en-GB"/>
              <a:t> </a:t>
            </a:r>
            <a:r>
              <a:rPr lang="en-GB" dirty="0"/>
              <a:t>including business direction</a:t>
            </a:r>
          </a:p>
          <a:p>
            <a:pPr marL="342900" indent="-160338">
              <a:spcBef>
                <a:spcPts val="300"/>
              </a:spcBef>
              <a:spcAft>
                <a:spcPts val="300"/>
              </a:spcAft>
              <a:buFont typeface="Arial" panose="020B0604020202020204" pitchFamily="34" charset="0"/>
              <a:buChar char="•"/>
            </a:pPr>
            <a:r>
              <a:rPr lang="en-GB" dirty="0"/>
              <a:t>Adopt risk mitigation strategies that </a:t>
            </a:r>
            <a:r>
              <a:rPr lang="en-GB"/>
              <a:t>are cost-effective and </a:t>
            </a:r>
            <a:r>
              <a:rPr lang="en-GB" dirty="0"/>
              <a:t>efficient in reducing risk to an acceptable level</a:t>
            </a:r>
          </a:p>
          <a:p>
            <a:pPr marL="342900" indent="-160338">
              <a:spcBef>
                <a:spcPts val="300"/>
              </a:spcBef>
              <a:spcAft>
                <a:spcPts val="300"/>
              </a:spcAft>
              <a:buFont typeface="Arial" panose="020B0604020202020204" pitchFamily="34" charset="0"/>
              <a:buChar char="•"/>
            </a:pPr>
            <a:r>
              <a:rPr lang="en-GB" dirty="0"/>
              <a:t>Monitor and review risk levels to ensure that risk exposure remains within an acceptable level</a:t>
            </a:r>
            <a:endParaRPr lang="en-US" dirty="0"/>
          </a:p>
          <a:p>
            <a:endParaRPr lang="en-GB" dirty="0"/>
          </a:p>
        </p:txBody>
      </p:sp>
    </p:spTree>
    <p:extLst>
      <p:ext uri="{BB962C8B-B14F-4D97-AF65-F5344CB8AC3E}">
        <p14:creationId xmlns:p14="http://schemas.microsoft.com/office/powerpoint/2010/main" val="40601392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monitor the implementation of our mitigation strategies by leveraging </a:t>
            </a:r>
            <a:r>
              <a:rPr lang="en-US"/>
              <a:t>our dashboard in </a:t>
            </a:r>
            <a:r>
              <a:rPr lang="en-US" dirty="0"/>
              <a:t>Excel, which will automatically be updated based on the input we make in </a:t>
            </a:r>
            <a:r>
              <a:rPr lang="en-US"/>
              <a:t>the risk log</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8" name="Picture 7">
            <a:extLst>
              <a:ext uri="{FF2B5EF4-FFF2-40B4-BE49-F238E27FC236}">
                <a16:creationId xmlns:a16="http://schemas.microsoft.com/office/drawing/2014/main" id="{DEA69F91-9BCE-4057-A54F-1EF3CE358434}"/>
              </a:ext>
            </a:extLst>
          </p:cNvPr>
          <p:cNvPicPr>
            <a:picLocks noChangeAspect="1"/>
          </p:cNvPicPr>
          <p:nvPr/>
        </p:nvPicPr>
        <p:blipFill rotWithShape="1">
          <a:blip r:embed="rId4"/>
          <a:srcRect b="28173"/>
          <a:stretch/>
        </p:blipFill>
        <p:spPr>
          <a:xfrm>
            <a:off x="916012" y="2501726"/>
            <a:ext cx="10269252" cy="2651760"/>
          </a:xfrm>
          <a:prstGeom prst="rect">
            <a:avLst/>
          </a:prstGeom>
          <a:ln>
            <a:noFill/>
          </a:ln>
          <a:effectLst>
            <a:outerShdw blurRad="292100" dist="139700" dir="2700000" algn="tl" rotWithShape="0">
              <a:srgbClr val="333333">
                <a:alpha val="65000"/>
              </a:srgbClr>
            </a:outerShdw>
          </a:effectLst>
        </p:spPr>
      </p:pic>
      <p:pic>
        <p:nvPicPr>
          <p:cNvPr id="9" name="Picture 6" descr="Download Microsoft Excel Logo in SVG Vector or PNG File Format - Logo.wine">
            <a:extLst>
              <a:ext uri="{FF2B5EF4-FFF2-40B4-BE49-F238E27FC236}">
                <a16:creationId xmlns:a16="http://schemas.microsoft.com/office/drawing/2014/main" id="{F8D43BFC-57C2-4560-A8BC-5E2AABC68E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06357" y="2228165"/>
            <a:ext cx="757813" cy="505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4333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Risk Management Toolkit includes 100 </a:t>
            </a:r>
            <a:r>
              <a:rPr lang="en-US" sz="1800" b="0" dirty="0"/>
              <a:t>PowerPoint </a:t>
            </a:r>
            <a:r>
              <a:rPr lang="en-GB" sz="1800" b="0" dirty="0"/>
              <a:t>slides and 10 Excel sheet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7" name="Rectangle: Rounded Corners 26">
            <a:extLst>
              <a:ext uri="{FF2B5EF4-FFF2-40B4-BE49-F238E27FC236}">
                <a16:creationId xmlns:a16="http://schemas.microsoft.com/office/drawing/2014/main" id="{022F9676-1CDA-4501-AB55-94D67867C319}"/>
              </a:ext>
            </a:extLst>
          </p:cNvPr>
          <p:cNvSpPr/>
          <p:nvPr/>
        </p:nvSpPr>
        <p:spPr>
          <a:xfrm>
            <a:off x="602681" y="1911810"/>
            <a:ext cx="10984482" cy="1580889"/>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3" name="Picture 2">
            <a:extLst>
              <a:ext uri="{FF2B5EF4-FFF2-40B4-BE49-F238E27FC236}">
                <a16:creationId xmlns:a16="http://schemas.microsoft.com/office/drawing/2014/main" id="{250E8DD8-D2B2-4AA9-8FCB-518B8D2D58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071" y="2179574"/>
            <a:ext cx="628190" cy="58423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Download Microsoft Excel Logo in SVG Vector or PNG File Format - Logo.wine">
            <a:extLst>
              <a:ext uri="{FF2B5EF4-FFF2-40B4-BE49-F238E27FC236}">
                <a16:creationId xmlns:a16="http://schemas.microsoft.com/office/drawing/2014/main" id="{713EEF7A-E025-4053-86B3-ABF91302CF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18392" y="2144060"/>
            <a:ext cx="1132272" cy="75484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66C5F612-5A89-4C48-BDA9-92B6DBF678F8}"/>
              </a:ext>
            </a:extLst>
          </p:cNvPr>
          <p:cNvSpPr txBox="1"/>
          <p:nvPr/>
        </p:nvSpPr>
        <p:spPr>
          <a:xfrm>
            <a:off x="2394864" y="2845573"/>
            <a:ext cx="3005768" cy="307777"/>
          </a:xfrm>
          <a:prstGeom prst="rect">
            <a:avLst/>
          </a:prstGeom>
          <a:noFill/>
        </p:spPr>
        <p:txBody>
          <a:bodyPr wrap="square" rtlCol="0">
            <a:spAutoFit/>
          </a:bodyPr>
          <a:lstStyle/>
          <a:p>
            <a:pPr algn="ctr"/>
            <a:r>
              <a:rPr lang="en-GB" sz="1400" b="1" dirty="0"/>
              <a:t>100 </a:t>
            </a:r>
            <a:r>
              <a:rPr lang="en-GB" sz="1400" b="1"/>
              <a:t>editable PowerPoint slides</a:t>
            </a:r>
            <a:r>
              <a:rPr lang="en-GB" sz="1400" b="1" dirty="0"/>
              <a:t>*</a:t>
            </a:r>
            <a:endParaRPr lang="en-US" sz="1400" b="1" dirty="0"/>
          </a:p>
        </p:txBody>
      </p:sp>
      <p:sp>
        <p:nvSpPr>
          <p:cNvPr id="46" name="TextBox 45">
            <a:extLst>
              <a:ext uri="{FF2B5EF4-FFF2-40B4-BE49-F238E27FC236}">
                <a16:creationId xmlns:a16="http://schemas.microsoft.com/office/drawing/2014/main" id="{5EDAE2A3-62C3-43E6-BBF2-1A1A1EBD0B6E}"/>
              </a:ext>
            </a:extLst>
          </p:cNvPr>
          <p:cNvSpPr txBox="1"/>
          <p:nvPr/>
        </p:nvSpPr>
        <p:spPr>
          <a:xfrm>
            <a:off x="6970020" y="2845573"/>
            <a:ext cx="2827117" cy="307777"/>
          </a:xfrm>
          <a:prstGeom prst="rect">
            <a:avLst/>
          </a:prstGeom>
          <a:noFill/>
        </p:spPr>
        <p:txBody>
          <a:bodyPr wrap="square" rtlCol="0">
            <a:spAutoFit/>
          </a:bodyPr>
          <a:lstStyle/>
          <a:p>
            <a:pPr algn="ctr"/>
            <a:r>
              <a:rPr lang="en-GB" sz="1400" b="1" dirty="0"/>
              <a:t>10 editable Excel sheets*</a:t>
            </a:r>
            <a:endParaRPr lang="en-US" sz="1400" b="1" dirty="0"/>
          </a:p>
        </p:txBody>
      </p:sp>
      <p:sp>
        <p:nvSpPr>
          <p:cNvPr id="47" name="TextBox 46">
            <a:extLst>
              <a:ext uri="{FF2B5EF4-FFF2-40B4-BE49-F238E27FC236}">
                <a16:creationId xmlns:a16="http://schemas.microsoft.com/office/drawing/2014/main" id="{8CD051DA-5632-4D12-9C75-ED64000E9143}"/>
              </a:ext>
            </a:extLst>
          </p:cNvPr>
          <p:cNvSpPr txBox="1"/>
          <p:nvPr/>
        </p:nvSpPr>
        <p:spPr>
          <a:xfrm>
            <a:off x="5888152" y="2292986"/>
            <a:ext cx="536845" cy="523220"/>
          </a:xfrm>
          <a:prstGeom prst="rect">
            <a:avLst/>
          </a:prstGeom>
          <a:noFill/>
        </p:spPr>
        <p:txBody>
          <a:bodyPr wrap="square" rtlCol="0">
            <a:spAutoFit/>
          </a:bodyPr>
          <a:lstStyle/>
          <a:p>
            <a:pPr algn="ctr"/>
            <a:r>
              <a:rPr lang="en-GB" sz="2800" b="1" dirty="0"/>
              <a:t>+</a:t>
            </a:r>
            <a:endParaRPr lang="en-US" sz="2800" b="1" dirty="0"/>
          </a:p>
        </p:txBody>
      </p:sp>
      <p:sp>
        <p:nvSpPr>
          <p:cNvPr id="48" name="Arrow: Down 47">
            <a:extLst>
              <a:ext uri="{FF2B5EF4-FFF2-40B4-BE49-F238E27FC236}">
                <a16:creationId xmlns:a16="http://schemas.microsoft.com/office/drawing/2014/main" id="{76C9DD00-67A5-4365-A8E4-8BE79F30DFD3}"/>
              </a:ext>
            </a:extLst>
          </p:cNvPr>
          <p:cNvSpPr/>
          <p:nvPr/>
        </p:nvSpPr>
        <p:spPr>
          <a:xfrm>
            <a:off x="1177666"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CED486D3-E0D9-4427-96B3-325C56C98857}"/>
              </a:ext>
            </a:extLst>
          </p:cNvPr>
          <p:cNvSpPr/>
          <p:nvPr/>
        </p:nvSpPr>
        <p:spPr>
          <a:xfrm>
            <a:off x="602681" y="5984072"/>
            <a:ext cx="10984482" cy="508803"/>
          </a:xfrm>
          <a:prstGeom prst="roundRect">
            <a:avLst>
              <a:gd name="adj" fmla="val 4711"/>
            </a:avLst>
          </a:prstGeom>
          <a:solidFill>
            <a:schemeClr val="bg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t>*Please note that the number </a:t>
            </a:r>
            <a:r>
              <a:rPr lang="en-GB" sz="1200"/>
              <a:t>of PowerPoint slides </a:t>
            </a:r>
            <a:r>
              <a:rPr lang="en-GB" sz="1200" dirty="0"/>
              <a:t>and Excel sheets listed is the number of unique slides and sheets. For example, </a:t>
            </a:r>
            <a:r>
              <a:rPr lang="en-GB" sz="1200"/>
              <a:t>a PowerPoint slide </a:t>
            </a:r>
            <a:r>
              <a:rPr lang="en-GB" sz="1200" dirty="0"/>
              <a:t>that has been duplicated to </a:t>
            </a:r>
            <a:r>
              <a:rPr lang="en-GB" sz="1200"/>
              <a:t>facilitate our clients</a:t>
            </a:r>
            <a:r>
              <a:rPr lang="en-GB" sz="1200" dirty="0"/>
              <a:t>’</a:t>
            </a:r>
            <a:r>
              <a:rPr lang="en-GB" sz="1200"/>
              <a:t> understanding only counts for 1 slide</a:t>
            </a:r>
            <a:r>
              <a:rPr lang="en-GB" sz="1200" dirty="0"/>
              <a:t>.</a:t>
            </a:r>
          </a:p>
        </p:txBody>
      </p:sp>
      <p:pic>
        <p:nvPicPr>
          <p:cNvPr id="58" name="Graphic 57" descr="Comment Important with solid fill">
            <a:extLst>
              <a:ext uri="{FF2B5EF4-FFF2-40B4-BE49-F238E27FC236}">
                <a16:creationId xmlns:a16="http://schemas.microsoft.com/office/drawing/2014/main" id="{CCE5CC6E-6411-4A67-AF69-17311BDEEB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1153" y="6043109"/>
            <a:ext cx="449766" cy="449766"/>
          </a:xfrm>
          <a:prstGeom prst="rect">
            <a:avLst/>
          </a:prstGeom>
        </p:spPr>
      </p:pic>
      <p:grpSp>
        <p:nvGrpSpPr>
          <p:cNvPr id="2" name="Group 2">
            <a:extLst>
              <a:ext uri="{FF2B5EF4-FFF2-40B4-BE49-F238E27FC236}">
                <a16:creationId xmlns:a16="http://schemas.microsoft.com/office/drawing/2014/main" id="{3B278966-4189-4325-9836-5AB362925DB2}"/>
              </a:ext>
            </a:extLst>
          </p:cNvPr>
          <p:cNvGrpSpPr/>
          <p:nvPr/>
        </p:nvGrpSpPr>
        <p:grpSpPr>
          <a:xfrm>
            <a:off x="597217" y="4007579"/>
            <a:ext cx="11072813" cy="1021621"/>
            <a:chOff x="430517" y="3881849"/>
            <a:chExt cx="11431508" cy="1021621"/>
          </a:xfrm>
        </p:grpSpPr>
        <p:sp>
          <p:nvSpPr>
            <p:cNvPr id="54" name="Chevron 10">
              <a:extLst>
                <a:ext uri="{FF2B5EF4-FFF2-40B4-BE49-F238E27FC236}">
                  <a16:creationId xmlns:a16="http://schemas.microsoft.com/office/drawing/2014/main" id="{B8B50508-0BE2-4D64-B367-4C9A3BC66C8F}"/>
                </a:ext>
              </a:extLst>
            </p:cNvPr>
            <p:cNvSpPr/>
            <p:nvPr/>
          </p:nvSpPr>
          <p:spPr bwMode="auto">
            <a:xfrm>
              <a:off x="3628831"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 Risk Assessment</a:t>
              </a:r>
            </a:p>
          </p:txBody>
        </p:sp>
        <p:sp>
          <p:nvSpPr>
            <p:cNvPr id="55" name="Chevron 12">
              <a:extLst>
                <a:ext uri="{FF2B5EF4-FFF2-40B4-BE49-F238E27FC236}">
                  <a16:creationId xmlns:a16="http://schemas.microsoft.com/office/drawing/2014/main" id="{905C40BD-71C3-4F2F-A79B-A093FE502899}"/>
                </a:ext>
              </a:extLst>
            </p:cNvPr>
            <p:cNvSpPr/>
            <p:nvPr/>
          </p:nvSpPr>
          <p:spPr bwMode="auto">
            <a:xfrm>
              <a:off x="5227989"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 Risk Prioritization</a:t>
              </a:r>
            </a:p>
          </p:txBody>
        </p:sp>
        <p:sp>
          <p:nvSpPr>
            <p:cNvPr id="56" name="Chevron 14">
              <a:extLst>
                <a:ext uri="{FF2B5EF4-FFF2-40B4-BE49-F238E27FC236}">
                  <a16:creationId xmlns:a16="http://schemas.microsoft.com/office/drawing/2014/main" id="{1672FBCC-99E2-475B-B06A-42F7BBD28CED}"/>
                </a:ext>
              </a:extLst>
            </p:cNvPr>
            <p:cNvSpPr/>
            <p:nvPr/>
          </p:nvSpPr>
          <p:spPr bwMode="auto">
            <a:xfrm>
              <a:off x="6827146"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 Risk Mitigation</a:t>
              </a:r>
            </a:p>
          </p:txBody>
        </p:sp>
        <p:sp>
          <p:nvSpPr>
            <p:cNvPr id="57" name="Chevron 167">
              <a:extLst>
                <a:ext uri="{FF2B5EF4-FFF2-40B4-BE49-F238E27FC236}">
                  <a16:creationId xmlns:a16="http://schemas.microsoft.com/office/drawing/2014/main" id="{8FC415E1-8341-4172-86DA-AEEE256133F9}"/>
                </a:ext>
              </a:extLst>
            </p:cNvPr>
            <p:cNvSpPr/>
            <p:nvPr/>
          </p:nvSpPr>
          <p:spPr bwMode="auto">
            <a:xfrm>
              <a:off x="2029674"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 Risk Identification</a:t>
              </a:r>
            </a:p>
          </p:txBody>
        </p:sp>
        <p:sp>
          <p:nvSpPr>
            <p:cNvPr id="59" name="Chevron 14">
              <a:extLst>
                <a:ext uri="{FF2B5EF4-FFF2-40B4-BE49-F238E27FC236}">
                  <a16:creationId xmlns:a16="http://schemas.microsoft.com/office/drawing/2014/main" id="{4C8F1A38-68DC-42EB-BFA4-548334668FC4}"/>
                </a:ext>
              </a:extLst>
            </p:cNvPr>
            <p:cNvSpPr/>
            <p:nvPr/>
          </p:nvSpPr>
          <p:spPr bwMode="auto">
            <a:xfrm>
              <a:off x="8426303"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 Risk Closure and Issue Escalation</a:t>
              </a:r>
            </a:p>
          </p:txBody>
        </p:sp>
        <p:sp>
          <p:nvSpPr>
            <p:cNvPr id="60" name="Chevron 14">
              <a:extLst>
                <a:ext uri="{FF2B5EF4-FFF2-40B4-BE49-F238E27FC236}">
                  <a16:creationId xmlns:a16="http://schemas.microsoft.com/office/drawing/2014/main" id="{8DE02B1A-E7ED-4EED-8F69-B2F21AC43FB6}"/>
                </a:ext>
              </a:extLst>
            </p:cNvPr>
            <p:cNvSpPr/>
            <p:nvPr/>
          </p:nvSpPr>
          <p:spPr bwMode="auto">
            <a:xfrm>
              <a:off x="10025460"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sp>
          <p:nvSpPr>
            <p:cNvPr id="61" name="Chevron 167">
              <a:extLst>
                <a:ext uri="{FF2B5EF4-FFF2-40B4-BE49-F238E27FC236}">
                  <a16:creationId xmlns:a16="http://schemas.microsoft.com/office/drawing/2014/main" id="{8FDA4D58-C256-4516-8CD7-D3FAC23C9A3C}"/>
                </a:ext>
              </a:extLst>
            </p:cNvPr>
            <p:cNvSpPr/>
            <p:nvPr/>
          </p:nvSpPr>
          <p:spPr bwMode="auto">
            <a:xfrm>
              <a:off x="430517"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 Risk Management Strategy and Plan</a:t>
              </a:r>
            </a:p>
          </p:txBody>
        </p:sp>
      </p:grpSp>
      <p:sp>
        <p:nvSpPr>
          <p:cNvPr id="62" name="Arrow: Down 61">
            <a:extLst>
              <a:ext uri="{FF2B5EF4-FFF2-40B4-BE49-F238E27FC236}">
                <a16:creationId xmlns:a16="http://schemas.microsoft.com/office/drawing/2014/main" id="{40776760-01A0-4FA4-93A3-A5DF4EDDA543}"/>
              </a:ext>
            </a:extLst>
          </p:cNvPr>
          <p:cNvSpPr/>
          <p:nvPr/>
        </p:nvSpPr>
        <p:spPr>
          <a:xfrm>
            <a:off x="27239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Arrow: Down 62">
            <a:extLst>
              <a:ext uri="{FF2B5EF4-FFF2-40B4-BE49-F238E27FC236}">
                <a16:creationId xmlns:a16="http://schemas.microsoft.com/office/drawing/2014/main" id="{CE7C11FF-3E0D-4FE2-A303-7ED15A873A67}"/>
              </a:ext>
            </a:extLst>
          </p:cNvPr>
          <p:cNvSpPr/>
          <p:nvPr/>
        </p:nvSpPr>
        <p:spPr>
          <a:xfrm>
            <a:off x="4223137"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Arrow: Down 63">
            <a:extLst>
              <a:ext uri="{FF2B5EF4-FFF2-40B4-BE49-F238E27FC236}">
                <a16:creationId xmlns:a16="http://schemas.microsoft.com/office/drawing/2014/main" id="{1BB21764-5F82-4D7D-B4CD-218B8025B096}"/>
              </a:ext>
            </a:extLst>
          </p:cNvPr>
          <p:cNvSpPr/>
          <p:nvPr/>
        </p:nvSpPr>
        <p:spPr>
          <a:xfrm>
            <a:off x="58267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Arrow: Down 64">
            <a:extLst>
              <a:ext uri="{FF2B5EF4-FFF2-40B4-BE49-F238E27FC236}">
                <a16:creationId xmlns:a16="http://schemas.microsoft.com/office/drawing/2014/main" id="{AE791009-D13A-4548-B9CC-0423A102DB91}"/>
              </a:ext>
            </a:extLst>
          </p:cNvPr>
          <p:cNvSpPr/>
          <p:nvPr/>
        </p:nvSpPr>
        <p:spPr>
          <a:xfrm>
            <a:off x="7374706"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Arrow: Down 65">
            <a:extLst>
              <a:ext uri="{FF2B5EF4-FFF2-40B4-BE49-F238E27FC236}">
                <a16:creationId xmlns:a16="http://schemas.microsoft.com/office/drawing/2014/main" id="{74F1D637-9DAA-4291-AE11-47645101A1AE}"/>
              </a:ext>
            </a:extLst>
          </p:cNvPr>
          <p:cNvSpPr/>
          <p:nvPr/>
        </p:nvSpPr>
        <p:spPr>
          <a:xfrm>
            <a:off x="90063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Arrow: Down 66">
            <a:extLst>
              <a:ext uri="{FF2B5EF4-FFF2-40B4-BE49-F238E27FC236}">
                <a16:creationId xmlns:a16="http://schemas.microsoft.com/office/drawing/2014/main" id="{6EA59A6F-D759-4451-8892-C76B2CBDA402}"/>
              </a:ext>
            </a:extLst>
          </p:cNvPr>
          <p:cNvSpPr/>
          <p:nvPr/>
        </p:nvSpPr>
        <p:spPr>
          <a:xfrm>
            <a:off x="1064438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09091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6" name="Rectangle 5">
            <a:extLst>
              <a:ext uri="{FF2B5EF4-FFF2-40B4-BE49-F238E27FC236}">
                <a16:creationId xmlns:a16="http://schemas.microsoft.com/office/drawing/2014/main" id="{7077FF90-18B3-4753-AB03-EA70B19442E9}"/>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ectangle 23">
            <a:extLst>
              <a:ext uri="{FF2B5EF4-FFF2-40B4-BE49-F238E27FC236}">
                <a16:creationId xmlns:a16="http://schemas.microsoft.com/office/drawing/2014/main" id="{10FC36E4-FF69-4225-8CCB-04169852A81D}"/>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a:extLst>
              <a:ext uri="{FF2B5EF4-FFF2-40B4-BE49-F238E27FC236}">
                <a16:creationId xmlns:a16="http://schemas.microsoft.com/office/drawing/2014/main" id="{00620D10-048E-48D9-A2B4-B60613B1CC93}"/>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CD141786-24B4-44B0-B8A6-7A0356A8DAA2}"/>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A8ED4079-9C72-477E-A32B-0BE357ABC2DA}"/>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FD0050EA-2F92-4A1D-BBA2-312C9B6FE8B8}"/>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0ACD094E-AE08-44D5-A0A8-BF6ED094C063}"/>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DA9D4097-1186-4D11-8507-48A6EB77B0D4}"/>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44">
            <a:extLst>
              <a:ext uri="{FF2B5EF4-FFF2-40B4-BE49-F238E27FC236}">
                <a16:creationId xmlns:a16="http://schemas.microsoft.com/office/drawing/2014/main" id="{9E2329D8-6CE9-482F-B3CE-E8EC3B1A9369}"/>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6" name="Graphic 45">
            <a:extLst>
              <a:ext uri="{FF2B5EF4-FFF2-40B4-BE49-F238E27FC236}">
                <a16:creationId xmlns:a16="http://schemas.microsoft.com/office/drawing/2014/main" id="{F2DF10A2-E100-4FF9-9CB8-EDE71129B31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47" name="Rounded Rectangle 5">
            <a:extLst>
              <a:ext uri="{FF2B5EF4-FFF2-40B4-BE49-F238E27FC236}">
                <a16:creationId xmlns:a16="http://schemas.microsoft.com/office/drawing/2014/main" id="{2294D629-5734-4E8A-ACBC-857B7249F5A5}"/>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ove the growth &amp; efficiency of your organization by leveraging Management Consulting Toolkits created by ex-McKinsey, Deloitte &amp; BCG Consultants.</a:t>
            </a:r>
            <a:endParaRPr lang="en-US" sz="1200" dirty="0">
              <a:ea typeface="ＭＳ Ｐゴシック" pitchFamily="50" charset="-128"/>
            </a:endParaRPr>
          </a:p>
        </p:txBody>
      </p:sp>
      <p:sp>
        <p:nvSpPr>
          <p:cNvPr id="48" name="Rounded Rectangle 5">
            <a:extLst>
              <a:ext uri="{FF2B5EF4-FFF2-40B4-BE49-F238E27FC236}">
                <a16:creationId xmlns:a16="http://schemas.microsoft.com/office/drawing/2014/main" id="{971D573A-5304-4C92-8CB7-47985CE6549D}"/>
              </a:ext>
            </a:extLst>
          </p:cNvPr>
          <p:cNvSpPr/>
          <p:nvPr/>
        </p:nvSpPr>
        <p:spPr bwMode="auto">
          <a:xfrm>
            <a:off x="5206138" y="2179569"/>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We invested $3</a:t>
            </a:r>
            <a:r>
              <a:rPr lang="en-US" sz="1200" dirty="0">
                <a:solidFill>
                  <a:srgbClr val="053881"/>
                </a:solidFill>
                <a:latin typeface="Helvetica" panose="020B0604020202020204" pitchFamily="34" charset="0"/>
              </a:rPr>
              <a:t>M</a:t>
            </a:r>
            <a:r>
              <a:rPr lang="en-US" sz="1200" b="0" i="0" dirty="0">
                <a:solidFill>
                  <a:srgbClr val="053881"/>
                </a:solidFill>
                <a:effectLst/>
                <a:latin typeface="Helvetica" panose="020B0604020202020204" pitchFamily="34" charset="0"/>
              </a:rPr>
              <a:t> to create all our </a:t>
            </a:r>
            <a:r>
              <a:rPr lang="en-US" sz="1200" dirty="0">
                <a:solidFill>
                  <a:srgbClr val="053881"/>
                </a:solidFill>
                <a:latin typeface="Helvetica" panose="020B0604020202020204" pitchFamily="34" charset="0"/>
              </a:rPr>
              <a:t>M</a:t>
            </a:r>
            <a:r>
              <a:rPr lang="en-US" sz="1200" b="0" i="0" dirty="0">
                <a:solidFill>
                  <a:srgbClr val="053881"/>
                </a:solidFill>
                <a:effectLst/>
                <a:latin typeface="Helvetica" panose="020B0604020202020204" pitchFamily="34" charset="0"/>
              </a:rPr>
              <a:t>anagement Consulting Toolkits. Get them for a fraction of that.</a:t>
            </a:r>
            <a:endParaRPr lang="en-US" sz="1200" dirty="0">
              <a:ea typeface="ＭＳ Ｐゴシック" pitchFamily="50" charset="-128"/>
            </a:endParaRPr>
          </a:p>
        </p:txBody>
      </p:sp>
      <p:sp>
        <p:nvSpPr>
          <p:cNvPr id="49" name="Rounded Rectangle 5">
            <a:extLst>
              <a:ext uri="{FF2B5EF4-FFF2-40B4-BE49-F238E27FC236}">
                <a16:creationId xmlns:a16="http://schemas.microsoft.com/office/drawing/2014/main" id="{5CF30ED3-F54D-472F-8C3E-5A39BAB8D140}"/>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t’s like hiring Management Consultants to create all the practical Frameworks, Tools &amp; Templates required </a:t>
            </a:r>
            <a:r>
              <a:rPr lang="en-US" sz="1200" b="0" i="0">
                <a:solidFill>
                  <a:srgbClr val="053881"/>
                </a:solidFill>
                <a:effectLst/>
                <a:latin typeface="Helvetica" panose="020B0604020202020204" pitchFamily="34" charset="0"/>
              </a:rPr>
              <a:t>to </a:t>
            </a:r>
            <a:r>
              <a:rPr lang="en-US" sz="1200">
                <a:solidFill>
                  <a:srgbClr val="053881"/>
                </a:solidFill>
                <a:latin typeface="Helvetica" panose="020B0604020202020204" pitchFamily="34" charset="0"/>
              </a:rPr>
              <a:t>gain </a:t>
            </a:r>
            <a:r>
              <a:rPr lang="en-US" sz="1200" b="0" i="0">
                <a:solidFill>
                  <a:srgbClr val="053881"/>
                </a:solidFill>
                <a:effectLst/>
                <a:latin typeface="Helvetica" panose="020B0604020202020204" pitchFamily="34" charset="0"/>
              </a:rPr>
              <a:t>a </a:t>
            </a:r>
            <a:r>
              <a:rPr lang="en-US" sz="1200" b="0" i="0" dirty="0">
                <a:solidFill>
                  <a:srgbClr val="053881"/>
                </a:solidFill>
                <a:effectLst/>
                <a:latin typeface="Helvetica" panose="020B0604020202020204" pitchFamily="34" charset="0"/>
              </a:rPr>
              <a:t>competitive advantage.</a:t>
            </a:r>
            <a:endParaRPr lang="en-US" sz="1200" dirty="0">
              <a:ea typeface="ＭＳ Ｐゴシック" pitchFamily="50" charset="-128"/>
            </a:endParaRPr>
          </a:p>
        </p:txBody>
      </p:sp>
      <p:sp>
        <p:nvSpPr>
          <p:cNvPr id="50" name="Rounded Rectangle 5">
            <a:extLst>
              <a:ext uri="{FF2B5EF4-FFF2-40B4-BE49-F238E27FC236}">
                <a16:creationId xmlns:a16="http://schemas.microsoft.com/office/drawing/2014/main" id="{360D60BA-ED17-4774-B45A-F73EBAE34844}"/>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Get the job done quicker and </a:t>
            </a:r>
            <a:r>
              <a:rPr lang="en-US" sz="1200" b="0" i="0">
                <a:solidFill>
                  <a:srgbClr val="053881"/>
                </a:solidFill>
                <a:effectLst/>
                <a:latin typeface="Helvetica" panose="020B0604020202020204" pitchFamily="34" charset="0"/>
              </a:rPr>
              <a:t>never start </a:t>
            </a:r>
            <a:r>
              <a:rPr lang="en-US" sz="1200" b="0" i="0" dirty="0">
                <a:solidFill>
                  <a:srgbClr val="053881"/>
                </a:solidFill>
                <a:effectLst/>
                <a:latin typeface="Helvetica" panose="020B0604020202020204" pitchFamily="34" charset="0"/>
              </a:rPr>
              <a:t>from scratch again with our </a:t>
            </a:r>
            <a:r>
              <a:rPr lang="en-US" sz="1200" b="0" i="0">
                <a:solidFill>
                  <a:srgbClr val="053881"/>
                </a:solidFill>
                <a:effectLst/>
                <a:latin typeface="Helvetica" panose="020B0604020202020204" pitchFamily="34" charset="0"/>
              </a:rPr>
              <a:t>ready-made </a:t>
            </a:r>
            <a:r>
              <a:rPr lang="en-US" sz="1200">
                <a:solidFill>
                  <a:srgbClr val="053881"/>
                </a:solidFill>
                <a:latin typeface="Helvetica" panose="020B0604020202020204" pitchFamily="34" charset="0"/>
              </a:rPr>
              <a:t>and </a:t>
            </a:r>
            <a:r>
              <a:rPr lang="en-US" sz="1200" b="0" i="0">
                <a:solidFill>
                  <a:srgbClr val="053881"/>
                </a:solidFill>
                <a:effectLst/>
                <a:latin typeface="Helvetica" panose="020B0604020202020204" pitchFamily="34" charset="0"/>
              </a:rPr>
              <a:t>fully </a:t>
            </a:r>
            <a:r>
              <a:rPr lang="en-US" sz="1200" b="0" i="0" dirty="0">
                <a:solidFill>
                  <a:srgbClr val="053881"/>
                </a:solidFill>
                <a:effectLst/>
                <a:latin typeface="Helvetica" panose="020B0604020202020204" pitchFamily="34" charset="0"/>
              </a:rPr>
              <a:t>editable Frameworks, Tools &amp; Templates in Powerpoint &amp; Excel.</a:t>
            </a:r>
            <a:endParaRPr lang="en-US" sz="1200" dirty="0">
              <a:ea typeface="ＭＳ Ｐゴシック" pitchFamily="50" charset="-128"/>
            </a:endParaRPr>
          </a:p>
        </p:txBody>
      </p:sp>
      <p:sp>
        <p:nvSpPr>
          <p:cNvPr id="52" name="Rounded Rectangle 5">
            <a:extLst>
              <a:ext uri="{FF2B5EF4-FFF2-40B4-BE49-F238E27FC236}">
                <a16:creationId xmlns:a16="http://schemas.microsoft.com/office/drawing/2014/main" id="{99AA9153-C633-4C31-9E9A-0948942A95C9}"/>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ove </a:t>
            </a:r>
            <a:r>
              <a:rPr lang="en-US" sz="1200" b="0" i="0">
                <a:solidFill>
                  <a:srgbClr val="053881"/>
                </a:solidFill>
                <a:effectLst/>
                <a:latin typeface="Helvetica" panose="020B0604020202020204" pitchFamily="34" charset="0"/>
              </a:rPr>
              <a:t>your skills &amp; </a:t>
            </a:r>
            <a:r>
              <a:rPr lang="en-US" sz="1200" b="0" i="0" dirty="0">
                <a:solidFill>
                  <a:srgbClr val="053881"/>
                </a:solidFill>
                <a:effectLst/>
                <a:latin typeface="Helvetica" panose="020B0604020202020204" pitchFamily="34" charset="0"/>
              </a:rPr>
              <a:t>capabilities and meet your professional goals by learning how the Fortune 100 and Global Consulting Firms do it.</a:t>
            </a:r>
          </a:p>
        </p:txBody>
      </p:sp>
      <p:sp>
        <p:nvSpPr>
          <p:cNvPr id="53" name="Rounded Rectangle 5">
            <a:extLst>
              <a:ext uri="{FF2B5EF4-FFF2-40B4-BE49-F238E27FC236}">
                <a16:creationId xmlns:a16="http://schemas.microsoft.com/office/drawing/2014/main" id="{B2ED7A07-F9BD-4DB4-A9C5-B3108D40701B}"/>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Get free support and advice from our ex-McKinsey, Deloitte &amp; BCG Management Consultants.</a:t>
            </a:r>
            <a:endParaRPr lang="en-US" sz="1200" dirty="0">
              <a:ea typeface="ＭＳ Ｐゴシック" pitchFamily="50" charset="-128"/>
            </a:endParaRPr>
          </a:p>
        </p:txBody>
      </p:sp>
      <p:sp>
        <p:nvSpPr>
          <p:cNvPr id="54" name="Rounded Rectangle 5">
            <a:extLst>
              <a:ext uri="{FF2B5EF4-FFF2-40B4-BE49-F238E27FC236}">
                <a16:creationId xmlns:a16="http://schemas.microsoft.com/office/drawing/2014/main" id="{F2CB5A07-4EE0-490C-BC2F-099732840F2C}"/>
              </a:ext>
            </a:extLst>
          </p:cNvPr>
          <p:cNvSpPr/>
          <p:nvPr/>
        </p:nvSpPr>
        <p:spPr bwMode="auto">
          <a:xfrm>
            <a:off x="5206138"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Hiring top-tier Consultants for a management consulting project would cost you $300k</a:t>
            </a:r>
            <a:r>
              <a:rPr lang="en-US" sz="1200" b="0" i="0">
                <a:solidFill>
                  <a:srgbClr val="053881"/>
                </a:solidFill>
                <a:effectLst/>
                <a:latin typeface="Helvetica" panose="020B0604020202020204" pitchFamily="34" charset="0"/>
              </a:rPr>
              <a:t>+. </a:t>
            </a:r>
            <a:r>
              <a:rPr lang="en-US" sz="1200" dirty="0">
                <a:solidFill>
                  <a:srgbClr val="053881"/>
                </a:solidFill>
                <a:latin typeface="Helvetica" panose="020B0604020202020204" pitchFamily="34" charset="0"/>
              </a:rPr>
              <a:t>That’s</a:t>
            </a:r>
            <a:r>
              <a:rPr lang="en-US" sz="1200">
                <a:solidFill>
                  <a:srgbClr val="053881"/>
                </a:solidFill>
                <a:latin typeface="Helvetica" panose="020B0604020202020204" pitchFamily="34" charset="0"/>
              </a:rPr>
              <a:t> a </a:t>
            </a:r>
            <a:r>
              <a:rPr lang="en-US" sz="1200" b="0" i="0">
                <a:solidFill>
                  <a:srgbClr val="053881"/>
                </a:solidFill>
                <a:effectLst/>
                <a:latin typeface="Helvetica" panose="020B0604020202020204" pitchFamily="34" charset="0"/>
              </a:rPr>
              <a:t>lot </a:t>
            </a:r>
            <a:r>
              <a:rPr lang="en-US" sz="1200" b="0" i="0" dirty="0">
                <a:solidFill>
                  <a:srgbClr val="053881"/>
                </a:solidFill>
                <a:effectLst/>
                <a:latin typeface="Helvetica" panose="020B0604020202020204" pitchFamily="34" charset="0"/>
              </a:rPr>
              <a:t>more expensive than purchasing our Toolkits.</a:t>
            </a:r>
            <a:endParaRPr lang="en-US" sz="1200" dirty="0">
              <a:ea typeface="ＭＳ Ｐゴシック" pitchFamily="50" charset="-128"/>
            </a:endParaRPr>
          </a:p>
        </p:txBody>
      </p:sp>
      <p:sp>
        <p:nvSpPr>
          <p:cNvPr id="55" name="Rounded Rectangle 5">
            <a:extLst>
              <a:ext uri="{FF2B5EF4-FFF2-40B4-BE49-F238E27FC236}">
                <a16:creationId xmlns:a16="http://schemas.microsoft.com/office/drawing/2014/main" id="{DC0B345B-A8EC-4E95-8CAC-E5322CA56717}"/>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Impress your stakeholders and become your organization’s subject matter expert with world-class approaches to resolve common business problems.</a:t>
            </a:r>
            <a:endParaRPr lang="en-US" sz="1200" dirty="0">
              <a:ea typeface="ＭＳ Ｐゴシック" pitchFamily="50" charset="-128"/>
            </a:endParaRPr>
          </a:p>
        </p:txBody>
      </p:sp>
      <p:pic>
        <p:nvPicPr>
          <p:cNvPr id="56" name="Graphic 55">
            <a:extLst>
              <a:ext uri="{FF2B5EF4-FFF2-40B4-BE49-F238E27FC236}">
                <a16:creationId xmlns:a16="http://schemas.microsoft.com/office/drawing/2014/main" id="{131BC2DB-9229-4655-8B8C-67D49AAA6CD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57" name="Graphic 56">
            <a:extLst>
              <a:ext uri="{FF2B5EF4-FFF2-40B4-BE49-F238E27FC236}">
                <a16:creationId xmlns:a16="http://schemas.microsoft.com/office/drawing/2014/main" id="{0D0522DE-41AB-44CB-87E5-1CCD549ED18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79485" y="3757458"/>
            <a:ext cx="511894" cy="511894"/>
          </a:xfrm>
          <a:prstGeom prst="rect">
            <a:avLst/>
          </a:prstGeom>
        </p:spPr>
      </p:pic>
      <p:pic>
        <p:nvPicPr>
          <p:cNvPr id="58" name="Graphic 57">
            <a:extLst>
              <a:ext uri="{FF2B5EF4-FFF2-40B4-BE49-F238E27FC236}">
                <a16:creationId xmlns:a16="http://schemas.microsoft.com/office/drawing/2014/main" id="{41860908-BE8E-4A49-85FB-ADD183AEA4C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73737" y="2212854"/>
            <a:ext cx="487430" cy="487430"/>
          </a:xfrm>
          <a:prstGeom prst="rect">
            <a:avLst/>
          </a:prstGeom>
        </p:spPr>
      </p:pic>
      <p:pic>
        <p:nvPicPr>
          <p:cNvPr id="59" name="Graphic 58">
            <a:extLst>
              <a:ext uri="{FF2B5EF4-FFF2-40B4-BE49-F238E27FC236}">
                <a16:creationId xmlns:a16="http://schemas.microsoft.com/office/drawing/2014/main" id="{7BC038B5-E60A-43A1-B657-9CE267F41E1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16558" y="3746630"/>
            <a:ext cx="533551" cy="533551"/>
          </a:xfrm>
          <a:prstGeom prst="rect">
            <a:avLst/>
          </a:prstGeom>
        </p:spPr>
      </p:pic>
      <p:pic>
        <p:nvPicPr>
          <p:cNvPr id="14" name="Graphic 13">
            <a:extLst>
              <a:ext uri="{FF2B5EF4-FFF2-40B4-BE49-F238E27FC236}">
                <a16:creationId xmlns:a16="http://schemas.microsoft.com/office/drawing/2014/main" id="{22DF7327-2363-435F-9ED6-4AA3ECBBA1A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68090" y="5255693"/>
            <a:ext cx="629096" cy="629096"/>
          </a:xfrm>
          <a:prstGeom prst="rect">
            <a:avLst/>
          </a:prstGeom>
        </p:spPr>
      </p:pic>
      <p:pic>
        <p:nvPicPr>
          <p:cNvPr id="16" name="Graphic 15">
            <a:extLst>
              <a:ext uri="{FF2B5EF4-FFF2-40B4-BE49-F238E27FC236}">
                <a16:creationId xmlns:a16="http://schemas.microsoft.com/office/drawing/2014/main" id="{42781B27-3287-4138-99C2-2F0435F1E5A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23806" y="5276595"/>
            <a:ext cx="587292" cy="587292"/>
          </a:xfrm>
          <a:prstGeom prst="rect">
            <a:avLst/>
          </a:prstGeom>
        </p:spPr>
      </p:pic>
      <p:pic>
        <p:nvPicPr>
          <p:cNvPr id="18" name="Graphic 17">
            <a:extLst>
              <a:ext uri="{FF2B5EF4-FFF2-40B4-BE49-F238E27FC236}">
                <a16:creationId xmlns:a16="http://schemas.microsoft.com/office/drawing/2014/main" id="{9FC40686-C658-407F-BDA4-C822A2049D7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509655" y="3735025"/>
            <a:ext cx="556760" cy="556760"/>
          </a:xfrm>
          <a:prstGeom prst="rect">
            <a:avLst/>
          </a:prstGeom>
        </p:spPr>
      </p:pic>
      <p:pic>
        <p:nvPicPr>
          <p:cNvPr id="20" name="Graphic 19">
            <a:extLst>
              <a:ext uri="{FF2B5EF4-FFF2-40B4-BE49-F238E27FC236}">
                <a16:creationId xmlns:a16="http://schemas.microsoft.com/office/drawing/2014/main" id="{1E455E94-A30D-4595-BFA4-855752AE351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20882" y="5343654"/>
            <a:ext cx="453174" cy="453174"/>
          </a:xfrm>
          <a:prstGeom prst="rect">
            <a:avLst/>
          </a:prstGeom>
        </p:spPr>
      </p:pic>
      <p:sp>
        <p:nvSpPr>
          <p:cNvPr id="5" name="Rounded Rectangle 5">
            <a:extLst>
              <a:ext uri="{FF2B5EF4-FFF2-40B4-BE49-F238E27FC236}">
                <a16:creationId xmlns:a16="http://schemas.microsoft.com/office/drawing/2014/main" id="{EDA73FF4-2B75-2B48-884E-4130B509A68A}"/>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US" sz="1200" b="0" i="0" dirty="0">
                <a:solidFill>
                  <a:srgbClr val="053881"/>
                </a:solidFill>
                <a:effectLst/>
                <a:latin typeface="Helvetica" panose="020B0604020202020204" pitchFamily="34" charset="0"/>
              </a:rPr>
              <a:t>We have worked 20,000+ hours over the past 9 years to create the world’s best Management Consulting Toolkits. Don’t reinvent the wheel. Download </a:t>
            </a:r>
            <a:r>
              <a:rPr lang="en-US" sz="1200" dirty="0">
                <a:solidFill>
                  <a:srgbClr val="053881"/>
                </a:solidFill>
                <a:latin typeface="Helvetica" panose="020B0604020202020204" pitchFamily="34" charset="0"/>
              </a:rPr>
              <a:t>them </a:t>
            </a:r>
            <a:r>
              <a:rPr lang="en-US" sz="1200" b="0" i="0" dirty="0">
                <a:solidFill>
                  <a:srgbClr val="053881"/>
                </a:solidFill>
                <a:effectLst/>
                <a:latin typeface="Helvetica" panose="020B0604020202020204" pitchFamily="34" charset="0"/>
              </a:rPr>
              <a:t>now.</a:t>
            </a:r>
            <a:endParaRPr lang="en-US" sz="1200" dirty="0">
              <a:ea typeface="ＭＳ Ｐゴシック" pitchFamily="50" charset="-128"/>
            </a:endParaRPr>
          </a:p>
        </p:txBody>
      </p:sp>
    </p:spTree>
    <p:extLst>
      <p:ext uri="{BB962C8B-B14F-4D97-AF65-F5344CB8AC3E}">
        <p14:creationId xmlns:p14="http://schemas.microsoft.com/office/powerpoint/2010/main" val="39383374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a:br>
            <a:r>
              <a:rPr lang="en-GB" b="0"/>
              <a:t>Reviews imported </a:t>
            </a:r>
            <a:r>
              <a:rPr lang="en-GB" b="0" dirty="0"/>
              <a:t>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33</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6"/>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a:solidFill>
                  <a:srgbClr val="00B050"/>
                </a:solidFill>
              </a:rPr>
              <a:t>$3k-$</a:t>
            </a:r>
            <a:r>
              <a:rPr lang="en-US" sz="2800" dirty="0">
                <a:solidFill>
                  <a:srgbClr val="00B050"/>
                </a:solidFill>
              </a:rPr>
              <a:t>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a:t>
            </a:r>
            <a:r>
              <a:rPr lang="en-GB"/>
              <a:t>Entrepreneurs </a:t>
            </a:r>
            <a:r>
              <a:rPr lang="en-GB" dirty="0"/>
              <a:t>already</a:t>
            </a:r>
            <a:r>
              <a:rPr lang="en-GB"/>
              <a:t> leveraging </a:t>
            </a:r>
            <a:r>
              <a:rPr lang="en-GB" dirty="0"/>
              <a:t>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additional help on top of our Management Consulting Toolkits? </a:t>
            </a:r>
            <a:br>
              <a:rPr lang="en-US" sz="2400" dirty="0">
                <a:latin typeface="+mn-lt"/>
              </a:rPr>
            </a:br>
            <a:r>
              <a:rPr lang="en-US" sz="2000" b="0" dirty="0">
                <a:latin typeface="+mn-lt"/>
              </a:rPr>
              <a:t>Send us a brief and we’ll find you the right talent from our network of 500 tier-1 Management Consultants (the average daily rate is $3k)</a:t>
            </a:r>
            <a:endParaRPr lang="en-US" sz="2400" b="0" dirty="0">
              <a:latin typeface="+mn-lt"/>
            </a:endParaRPr>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a:xfrm>
            <a:off x="9181195" y="6632713"/>
            <a:ext cx="2743200" cy="1800000"/>
          </a:xfrm>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a:blip r:embed="rId10"/>
          <a:stretch>
            <a:fillRect/>
          </a:stretch>
        </p:blipFill>
        <p:spPr>
          <a:xfrm>
            <a:off x="7873918" y="1696030"/>
            <a:ext cx="3187864" cy="2152761"/>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Tree>
    <p:extLst>
      <p:ext uri="{BB962C8B-B14F-4D97-AF65-F5344CB8AC3E}">
        <p14:creationId xmlns:p14="http://schemas.microsoft.com/office/powerpoint/2010/main" val="15343998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3600" dirty="0">
                <a:latin typeface="+mn-lt"/>
              </a:rPr>
              <a:t>This was just a small preview.</a:t>
            </a:r>
            <a:endParaRPr lang="en-US" sz="3600"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6D80435-6127-8B5A-A042-7E4F9ED8123A}"/>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Benefits </a:t>
            </a:r>
            <a:r>
              <a:rPr lang="en-GB" sz="2400" kern="0"/>
              <a:t>of risk management</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a:noFill/>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6F97B87A-9740-43C6-B05D-8721DF4C5B33}"/>
              </a:ext>
            </a:extLst>
          </p:cNvPr>
          <p:cNvSpPr/>
          <p:nvPr/>
        </p:nvSpPr>
        <p:spPr>
          <a:xfrm>
            <a:off x="622551" y="1599845"/>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9" name="Rectangle 8">
            <a:extLst>
              <a:ext uri="{FF2B5EF4-FFF2-40B4-BE49-F238E27FC236}">
                <a16:creationId xmlns:a16="http://schemas.microsoft.com/office/drawing/2014/main" id="{0BB022C3-13D4-4262-A2A1-C38A84ED6561}"/>
              </a:ext>
            </a:extLst>
          </p:cNvPr>
          <p:cNvSpPr/>
          <p:nvPr/>
        </p:nvSpPr>
        <p:spPr>
          <a:xfrm>
            <a:off x="1549149" y="1599845"/>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crease the likelihood of achieving </a:t>
            </a:r>
            <a:r>
              <a:rPr lang="en-GB" b="1">
                <a:solidFill>
                  <a:srgbClr val="002060"/>
                </a:solidFill>
                <a:latin typeface="Arial" panose="020B0604020202020204"/>
              </a:rPr>
              <a:t>the organization’s strategic </a:t>
            </a:r>
            <a:r>
              <a:rPr lang="en-GB" b="1" dirty="0">
                <a:solidFill>
                  <a:srgbClr val="002060"/>
                </a:solidFill>
                <a:latin typeface="Arial" panose="020B0604020202020204"/>
              </a:rPr>
              <a:t>and business objectives</a:t>
            </a:r>
            <a:endParaRPr lang="en-US" b="1" dirty="0">
              <a:solidFill>
                <a:srgbClr val="002060"/>
              </a:solidFill>
              <a:latin typeface="Arial" panose="020B0604020202020204"/>
            </a:endParaRPr>
          </a:p>
        </p:txBody>
      </p:sp>
      <p:sp>
        <p:nvSpPr>
          <p:cNvPr id="14" name="Rectangle 13">
            <a:extLst>
              <a:ext uri="{FF2B5EF4-FFF2-40B4-BE49-F238E27FC236}">
                <a16:creationId xmlns:a16="http://schemas.microsoft.com/office/drawing/2014/main" id="{A8F21DEC-F676-4583-AF1E-7090BC989E8C}"/>
              </a:ext>
            </a:extLst>
          </p:cNvPr>
          <p:cNvSpPr/>
          <p:nvPr/>
        </p:nvSpPr>
        <p:spPr>
          <a:xfrm>
            <a:off x="622551" y="2443884"/>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5" name="Rectangle 14">
            <a:extLst>
              <a:ext uri="{FF2B5EF4-FFF2-40B4-BE49-F238E27FC236}">
                <a16:creationId xmlns:a16="http://schemas.microsoft.com/office/drawing/2014/main" id="{D222285A-76EB-477A-BF2E-C2B3A0E040C4}"/>
              </a:ext>
            </a:extLst>
          </p:cNvPr>
          <p:cNvSpPr/>
          <p:nvPr/>
        </p:nvSpPr>
        <p:spPr>
          <a:xfrm>
            <a:off x="1549149" y="2443884"/>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Encourage a high standard of accountability at all levels of the organization</a:t>
            </a:r>
            <a:endParaRPr lang="en-US" b="1" dirty="0">
              <a:solidFill>
                <a:srgbClr val="002060"/>
              </a:solidFill>
              <a:latin typeface="Arial" panose="020B0604020202020204"/>
            </a:endParaRPr>
          </a:p>
        </p:txBody>
      </p:sp>
      <p:sp>
        <p:nvSpPr>
          <p:cNvPr id="17" name="Rectangle 16">
            <a:extLst>
              <a:ext uri="{FF2B5EF4-FFF2-40B4-BE49-F238E27FC236}">
                <a16:creationId xmlns:a16="http://schemas.microsoft.com/office/drawing/2014/main" id="{28B54E9C-D6A1-4D1A-B563-684331199C2D}"/>
              </a:ext>
            </a:extLst>
          </p:cNvPr>
          <p:cNvSpPr/>
          <p:nvPr/>
        </p:nvSpPr>
        <p:spPr>
          <a:xfrm>
            <a:off x="622551" y="3287923"/>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8" name="Rectangle 17">
            <a:extLst>
              <a:ext uri="{FF2B5EF4-FFF2-40B4-BE49-F238E27FC236}">
                <a16:creationId xmlns:a16="http://schemas.microsoft.com/office/drawing/2014/main" id="{6A8C151B-623C-485F-9716-14EDF3CA905D}"/>
              </a:ext>
            </a:extLst>
          </p:cNvPr>
          <p:cNvSpPr/>
          <p:nvPr/>
        </p:nvSpPr>
        <p:spPr>
          <a:xfrm>
            <a:off x="1549149" y="3287923"/>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Support more effective decision making through better understanding of </a:t>
            </a:r>
            <a:r>
              <a:rPr lang="en-GB" b="1">
                <a:solidFill>
                  <a:srgbClr val="002060"/>
                </a:solidFill>
                <a:latin typeface="Arial" panose="020B0604020202020204"/>
              </a:rPr>
              <a:t>risk exposure</a:t>
            </a:r>
            <a:endParaRPr lang="en-US" b="1" dirty="0">
              <a:solidFill>
                <a:srgbClr val="002060"/>
              </a:solidFill>
              <a:latin typeface="Arial" panose="020B0604020202020204"/>
            </a:endParaRPr>
          </a:p>
        </p:txBody>
      </p:sp>
      <p:sp>
        <p:nvSpPr>
          <p:cNvPr id="19" name="Rectangle 18">
            <a:extLst>
              <a:ext uri="{FF2B5EF4-FFF2-40B4-BE49-F238E27FC236}">
                <a16:creationId xmlns:a16="http://schemas.microsoft.com/office/drawing/2014/main" id="{FA2DE687-D433-4F9B-BA04-9B71E0794E12}"/>
              </a:ext>
            </a:extLst>
          </p:cNvPr>
          <p:cNvSpPr/>
          <p:nvPr/>
        </p:nvSpPr>
        <p:spPr>
          <a:xfrm>
            <a:off x="622551" y="4131962"/>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20" name="Rectangle 19">
            <a:extLst>
              <a:ext uri="{FF2B5EF4-FFF2-40B4-BE49-F238E27FC236}">
                <a16:creationId xmlns:a16="http://schemas.microsoft.com/office/drawing/2014/main" id="{F9AAE882-921B-4419-AC2D-25F4D2E6FF45}"/>
              </a:ext>
            </a:extLst>
          </p:cNvPr>
          <p:cNvSpPr/>
          <p:nvPr/>
        </p:nvSpPr>
        <p:spPr>
          <a:xfrm>
            <a:off x="1549149" y="4131962"/>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Create an environment that enables the organization to deliver timely services and meet performance objectives in an efficient and cost-effective manner</a:t>
            </a:r>
            <a:endParaRPr lang="en-US" b="1" dirty="0">
              <a:solidFill>
                <a:srgbClr val="002060"/>
              </a:solidFill>
              <a:latin typeface="Arial" panose="020B0604020202020204"/>
            </a:endParaRPr>
          </a:p>
        </p:txBody>
      </p:sp>
      <p:sp>
        <p:nvSpPr>
          <p:cNvPr id="21" name="Rectangle 20">
            <a:extLst>
              <a:ext uri="{FF2B5EF4-FFF2-40B4-BE49-F238E27FC236}">
                <a16:creationId xmlns:a16="http://schemas.microsoft.com/office/drawing/2014/main" id="{572190A2-4315-4FC0-8B2F-09734F7A15B0}"/>
              </a:ext>
            </a:extLst>
          </p:cNvPr>
          <p:cNvSpPr/>
          <p:nvPr/>
        </p:nvSpPr>
        <p:spPr>
          <a:xfrm>
            <a:off x="622551" y="497600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22" name="Rectangle 21">
            <a:extLst>
              <a:ext uri="{FF2B5EF4-FFF2-40B4-BE49-F238E27FC236}">
                <a16:creationId xmlns:a16="http://schemas.microsoft.com/office/drawing/2014/main" id="{2720312B-AF47-46A8-99C3-D440228E2D39}"/>
              </a:ext>
            </a:extLst>
          </p:cNvPr>
          <p:cNvSpPr/>
          <p:nvPr/>
        </p:nvSpPr>
        <p:spPr>
          <a:xfrm>
            <a:off x="1549149" y="497600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002060"/>
                </a:solidFill>
                <a:latin typeface="Arial" panose="020B0604020202020204"/>
              </a:rPr>
              <a:t>Safeguard the key assets of the organization: human</a:t>
            </a:r>
            <a:r>
              <a:rPr lang="en-US" b="1">
                <a:solidFill>
                  <a:srgbClr val="002060"/>
                </a:solidFill>
                <a:latin typeface="Arial" panose="020B0604020202020204"/>
              </a:rPr>
              <a:t>, property</a:t>
            </a:r>
            <a:r>
              <a:rPr lang="en-US" b="1" dirty="0">
                <a:solidFill>
                  <a:srgbClr val="002060"/>
                </a:solidFill>
                <a:latin typeface="Arial" panose="020B0604020202020204"/>
              </a:rPr>
              <a:t>,</a:t>
            </a:r>
            <a:r>
              <a:rPr lang="en-US" b="1">
                <a:solidFill>
                  <a:srgbClr val="002060"/>
                </a:solidFill>
                <a:latin typeface="Arial" panose="020B0604020202020204"/>
              </a:rPr>
              <a:t> </a:t>
            </a:r>
            <a:r>
              <a:rPr lang="en-US" b="1" dirty="0">
                <a:solidFill>
                  <a:srgbClr val="002060"/>
                </a:solidFill>
                <a:latin typeface="Arial" panose="020B0604020202020204"/>
              </a:rPr>
              <a:t>and reputation</a:t>
            </a:r>
          </a:p>
        </p:txBody>
      </p:sp>
      <p:sp>
        <p:nvSpPr>
          <p:cNvPr id="23" name="Rectangle 22">
            <a:extLst>
              <a:ext uri="{FF2B5EF4-FFF2-40B4-BE49-F238E27FC236}">
                <a16:creationId xmlns:a16="http://schemas.microsoft.com/office/drawing/2014/main" id="{8C8B18B1-9B35-49A9-8493-B1DCBBF9A520}"/>
              </a:ext>
            </a:extLst>
          </p:cNvPr>
          <p:cNvSpPr/>
          <p:nvPr/>
        </p:nvSpPr>
        <p:spPr>
          <a:xfrm>
            <a:off x="622551" y="582004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24" name="Rectangle 23">
            <a:extLst>
              <a:ext uri="{FF2B5EF4-FFF2-40B4-BE49-F238E27FC236}">
                <a16:creationId xmlns:a16="http://schemas.microsoft.com/office/drawing/2014/main" id="{6133B81D-9DD5-4298-8FBB-0AD8520462CC}"/>
              </a:ext>
            </a:extLst>
          </p:cNvPr>
          <p:cNvSpPr/>
          <p:nvPr/>
        </p:nvSpPr>
        <p:spPr>
          <a:xfrm>
            <a:off x="1549149" y="582004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Meet compliance and governance requirements</a:t>
            </a:r>
            <a:endParaRPr lang="en-US" b="1" dirty="0">
              <a:solidFill>
                <a:srgbClr val="002060"/>
              </a:solidFill>
              <a:latin typeface="Arial" panose="020B0604020202020204"/>
            </a:endParaRPr>
          </a:p>
        </p:txBody>
      </p:sp>
    </p:spTree>
    <p:extLst>
      <p:ext uri="{BB962C8B-B14F-4D97-AF65-F5344CB8AC3E}">
        <p14:creationId xmlns:p14="http://schemas.microsoft.com/office/powerpoint/2010/main" val="2561262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Content</a:t>
            </a:r>
            <a:br>
              <a:rPr lang="en-US" sz="3600" dirty="0"/>
            </a:br>
            <a:r>
              <a:rPr lang="en-GB" b="0" dirty="0"/>
              <a:t>The Risk Management Toolkit was created by ex-McKinsey</a:t>
            </a:r>
            <a:r>
              <a:rPr lang="en-GB" b="0"/>
              <a:t>, Deloitte</a:t>
            </a:r>
            <a:r>
              <a:rPr lang="en-GB" b="0" dirty="0"/>
              <a:t>,</a:t>
            </a:r>
            <a:r>
              <a:rPr lang="en-GB" b="0"/>
              <a:t> and BCG </a:t>
            </a:r>
            <a:r>
              <a:rPr lang="en-GB" b="0" dirty="0"/>
              <a:t>management</a:t>
            </a:r>
            <a:r>
              <a:rPr lang="en-GB" b="0"/>
              <a:t> consultants specializing in </a:t>
            </a:r>
            <a:r>
              <a:rPr lang="en-GB" b="0" dirty="0"/>
              <a:t>risk management. It includes 7 compon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4" name="TextBox 33">
            <a:extLst>
              <a:ext uri="{FF2B5EF4-FFF2-40B4-BE49-F238E27FC236}">
                <a16:creationId xmlns:a16="http://schemas.microsoft.com/office/drawing/2014/main" id="{E1B2FFE3-DBA5-416B-9DB3-3731D3B7B0A4}"/>
              </a:ext>
            </a:extLst>
          </p:cNvPr>
          <p:cNvSpPr txBox="1"/>
          <p:nvPr/>
        </p:nvSpPr>
        <p:spPr>
          <a:xfrm>
            <a:off x="5885254" y="1724461"/>
            <a:ext cx="400559" cy="184666"/>
          </a:xfrm>
          <a:prstGeom prst="rect">
            <a:avLst/>
          </a:prstGeom>
          <a:noFill/>
        </p:spPr>
        <p:txBody>
          <a:bodyPr wrap="none" lIns="0" tIns="0" rIns="0" bIns="0" rtlCol="0">
            <a:spAutoFit/>
          </a:bodyPr>
          <a:lstStyle/>
          <a:p>
            <a:pPr algn="ctr"/>
            <a:r>
              <a:rPr lang="en-US" sz="1200" b="1" dirty="0"/>
              <a:t>Tools</a:t>
            </a:r>
          </a:p>
        </p:txBody>
      </p:sp>
      <p:sp>
        <p:nvSpPr>
          <p:cNvPr id="35" name="TextBox 34">
            <a:extLst>
              <a:ext uri="{FF2B5EF4-FFF2-40B4-BE49-F238E27FC236}">
                <a16:creationId xmlns:a16="http://schemas.microsoft.com/office/drawing/2014/main" id="{4D42CE75-EBD5-4944-A919-A414AA408861}"/>
              </a:ext>
            </a:extLst>
          </p:cNvPr>
          <p:cNvSpPr txBox="1"/>
          <p:nvPr/>
        </p:nvSpPr>
        <p:spPr>
          <a:xfrm>
            <a:off x="7854333" y="2854769"/>
            <a:ext cx="748410" cy="184666"/>
          </a:xfrm>
          <a:prstGeom prst="rect">
            <a:avLst/>
          </a:prstGeom>
          <a:solidFill>
            <a:srgbClr val="F7F7F7"/>
          </a:solidFill>
        </p:spPr>
        <p:txBody>
          <a:bodyPr wrap="none" lIns="0" tIns="0" rIns="0" bIns="0" rtlCol="0">
            <a:spAutoFit/>
          </a:bodyPr>
          <a:lstStyle/>
          <a:p>
            <a:pPr algn="ctr"/>
            <a:r>
              <a:rPr lang="en-US" sz="1200" b="1" dirty="0"/>
              <a:t>Templates</a:t>
            </a:r>
          </a:p>
        </p:txBody>
      </p:sp>
      <p:sp>
        <p:nvSpPr>
          <p:cNvPr id="36" name="TextBox 35">
            <a:extLst>
              <a:ext uri="{FF2B5EF4-FFF2-40B4-BE49-F238E27FC236}">
                <a16:creationId xmlns:a16="http://schemas.microsoft.com/office/drawing/2014/main" id="{374D2436-4DE9-43A4-9BB8-B23AA8701B3A}"/>
              </a:ext>
            </a:extLst>
          </p:cNvPr>
          <p:cNvSpPr txBox="1"/>
          <p:nvPr/>
        </p:nvSpPr>
        <p:spPr>
          <a:xfrm>
            <a:off x="8185383" y="4230566"/>
            <a:ext cx="1558983" cy="369332"/>
          </a:xfrm>
          <a:prstGeom prst="rect">
            <a:avLst/>
          </a:prstGeom>
          <a:solidFill>
            <a:srgbClr val="F7F7F7"/>
          </a:solidFill>
        </p:spPr>
        <p:txBody>
          <a:bodyPr wrap="square" lIns="0" tIns="0" rIns="0" bIns="0" rtlCol="0">
            <a:spAutoFit/>
          </a:bodyPr>
          <a:lstStyle/>
          <a:p>
            <a:r>
              <a:rPr lang="en-US" sz="1200" b="1" dirty="0"/>
              <a:t>Step-by-step tutorials</a:t>
            </a:r>
          </a:p>
        </p:txBody>
      </p:sp>
      <p:sp>
        <p:nvSpPr>
          <p:cNvPr id="37" name="TextBox 36">
            <a:extLst>
              <a:ext uri="{FF2B5EF4-FFF2-40B4-BE49-F238E27FC236}">
                <a16:creationId xmlns:a16="http://schemas.microsoft.com/office/drawing/2014/main" id="{3C2FA24C-C27B-41CE-B094-2513F027D3A8}"/>
              </a:ext>
            </a:extLst>
          </p:cNvPr>
          <p:cNvSpPr txBox="1"/>
          <p:nvPr/>
        </p:nvSpPr>
        <p:spPr>
          <a:xfrm>
            <a:off x="6387097" y="5957136"/>
            <a:ext cx="1055432" cy="369332"/>
          </a:xfrm>
          <a:prstGeom prst="rect">
            <a:avLst/>
          </a:prstGeom>
          <a:noFill/>
        </p:spPr>
        <p:txBody>
          <a:bodyPr wrap="square" lIns="0" tIns="0" rIns="0" bIns="0" rtlCol="0">
            <a:spAutoFit/>
          </a:bodyPr>
          <a:lstStyle/>
          <a:p>
            <a:pPr algn="ctr"/>
            <a:r>
              <a:rPr lang="en-US" sz="1200" b="1" dirty="0"/>
              <a:t>Real-life examples</a:t>
            </a:r>
          </a:p>
        </p:txBody>
      </p:sp>
      <p:sp>
        <p:nvSpPr>
          <p:cNvPr id="38" name="TextBox 37">
            <a:extLst>
              <a:ext uri="{FF2B5EF4-FFF2-40B4-BE49-F238E27FC236}">
                <a16:creationId xmlns:a16="http://schemas.microsoft.com/office/drawing/2014/main" id="{B6F8B35C-55F2-4C82-90F4-14AA1AB67BFC}"/>
              </a:ext>
            </a:extLst>
          </p:cNvPr>
          <p:cNvSpPr txBox="1"/>
          <p:nvPr/>
        </p:nvSpPr>
        <p:spPr>
          <a:xfrm>
            <a:off x="4872811" y="5937175"/>
            <a:ext cx="840681" cy="369332"/>
          </a:xfrm>
          <a:prstGeom prst="rect">
            <a:avLst/>
          </a:prstGeom>
          <a:noFill/>
        </p:spPr>
        <p:txBody>
          <a:bodyPr wrap="square" lIns="0" tIns="0" rIns="0" bIns="0" rtlCol="0">
            <a:spAutoFit/>
          </a:bodyPr>
          <a:lstStyle/>
          <a:p>
            <a:pPr algn="ctr"/>
            <a:r>
              <a:rPr lang="en-US" sz="1200" b="1" dirty="0"/>
              <a:t>Best practices</a:t>
            </a:r>
          </a:p>
        </p:txBody>
      </p:sp>
      <p:sp>
        <p:nvSpPr>
          <p:cNvPr id="39" name="TextBox 38">
            <a:extLst>
              <a:ext uri="{FF2B5EF4-FFF2-40B4-BE49-F238E27FC236}">
                <a16:creationId xmlns:a16="http://schemas.microsoft.com/office/drawing/2014/main" id="{519C9AE0-754E-4933-AD30-219E481A0051}"/>
              </a:ext>
            </a:extLst>
          </p:cNvPr>
          <p:cNvSpPr txBox="1"/>
          <p:nvPr/>
        </p:nvSpPr>
        <p:spPr>
          <a:xfrm>
            <a:off x="2115126" y="4221010"/>
            <a:ext cx="1864770" cy="369332"/>
          </a:xfrm>
          <a:prstGeom prst="rect">
            <a:avLst/>
          </a:prstGeom>
          <a:solidFill>
            <a:srgbClr val="F7F7F7"/>
          </a:solidFill>
        </p:spPr>
        <p:txBody>
          <a:bodyPr wrap="square" lIns="0" tIns="0" rIns="0" bIns="0" rtlCol="0">
            <a:spAutoFit/>
          </a:bodyPr>
          <a:lstStyle/>
          <a:p>
            <a:pPr algn="r"/>
            <a:r>
              <a:rPr lang="en-US" sz="1200" b="1" dirty="0"/>
              <a:t>Support from tier-1 management consultants</a:t>
            </a:r>
          </a:p>
        </p:txBody>
      </p:sp>
      <p:sp>
        <p:nvSpPr>
          <p:cNvPr id="40" name="TextBox 39">
            <a:extLst>
              <a:ext uri="{FF2B5EF4-FFF2-40B4-BE49-F238E27FC236}">
                <a16:creationId xmlns:a16="http://schemas.microsoft.com/office/drawing/2014/main" id="{89F4B0CF-9378-4A72-B65B-CA382567820F}"/>
              </a:ext>
            </a:extLst>
          </p:cNvPr>
          <p:cNvSpPr txBox="1"/>
          <p:nvPr/>
        </p:nvSpPr>
        <p:spPr>
          <a:xfrm>
            <a:off x="3398872" y="2771645"/>
            <a:ext cx="904094" cy="184666"/>
          </a:xfrm>
          <a:prstGeom prst="rect">
            <a:avLst/>
          </a:prstGeom>
          <a:solidFill>
            <a:srgbClr val="F7F7F7"/>
          </a:solidFill>
        </p:spPr>
        <p:txBody>
          <a:bodyPr wrap="none" lIns="0" tIns="0" rIns="0" bIns="0" rtlCol="0">
            <a:spAutoFit/>
          </a:bodyPr>
          <a:lstStyle/>
          <a:p>
            <a:pPr algn="ctr"/>
            <a:r>
              <a:rPr lang="en-US" sz="1200" b="1" dirty="0"/>
              <a:t>Frameworks</a:t>
            </a:r>
          </a:p>
        </p:txBody>
      </p:sp>
      <p:cxnSp>
        <p:nvCxnSpPr>
          <p:cNvPr id="41" name="Straight Connector 40">
            <a:extLst>
              <a:ext uri="{FF2B5EF4-FFF2-40B4-BE49-F238E27FC236}">
                <a16:creationId xmlns:a16="http://schemas.microsoft.com/office/drawing/2014/main" id="{8C5AD82E-AB23-4089-AA37-932F239A2C62}"/>
              </a:ext>
            </a:extLst>
          </p:cNvPr>
          <p:cNvCxnSpPr>
            <a:cxnSpLocks/>
          </p:cNvCxnSpPr>
          <p:nvPr/>
        </p:nvCxnSpPr>
        <p:spPr>
          <a:xfrm flipV="1">
            <a:off x="5370685" y="4661275"/>
            <a:ext cx="359317" cy="84265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453C508-ECBC-4AF0-B3F0-207099046C59}"/>
              </a:ext>
            </a:extLst>
          </p:cNvPr>
          <p:cNvCxnSpPr>
            <a:stCxn id="49" idx="3"/>
            <a:endCxn id="50" idx="1"/>
          </p:cNvCxnSpPr>
          <p:nvPr/>
        </p:nvCxnSpPr>
        <p:spPr>
          <a:xfrm flipV="1">
            <a:off x="6085573" y="2470768"/>
            <a:ext cx="0" cy="65203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CB40045-54EE-48A2-9963-3DAA40D26B70}"/>
              </a:ext>
            </a:extLst>
          </p:cNvPr>
          <p:cNvCxnSpPr>
            <a:cxnSpLocks/>
          </p:cNvCxnSpPr>
          <p:nvPr/>
        </p:nvCxnSpPr>
        <p:spPr>
          <a:xfrm flipH="1">
            <a:off x="6745414" y="3051778"/>
            <a:ext cx="585229" cy="44496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28F4FA4-D5AC-41D7-A610-C71E56353ABA}"/>
              </a:ext>
            </a:extLst>
          </p:cNvPr>
          <p:cNvCxnSpPr>
            <a:cxnSpLocks/>
          </p:cNvCxnSpPr>
          <p:nvPr/>
        </p:nvCxnSpPr>
        <p:spPr>
          <a:xfrm>
            <a:off x="4857832" y="3081058"/>
            <a:ext cx="585229" cy="44496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A00F544-B637-4AE0-9456-DEADC19170B4}"/>
              </a:ext>
            </a:extLst>
          </p:cNvPr>
          <p:cNvCxnSpPr>
            <a:cxnSpLocks/>
          </p:cNvCxnSpPr>
          <p:nvPr/>
        </p:nvCxnSpPr>
        <p:spPr>
          <a:xfrm flipH="1" flipV="1">
            <a:off x="6781784" y="4160008"/>
            <a:ext cx="910378" cy="22835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9563420-A8F1-4B09-BC0F-B0F2CBFDEA49}"/>
              </a:ext>
            </a:extLst>
          </p:cNvPr>
          <p:cNvCxnSpPr>
            <a:cxnSpLocks/>
          </p:cNvCxnSpPr>
          <p:nvPr/>
        </p:nvCxnSpPr>
        <p:spPr>
          <a:xfrm flipV="1">
            <a:off x="4532684" y="4160008"/>
            <a:ext cx="910378" cy="228352"/>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5F6E258-DA49-4678-AA7D-F999C6AE98B0}"/>
              </a:ext>
            </a:extLst>
          </p:cNvPr>
          <p:cNvCxnSpPr>
            <a:cxnSpLocks/>
          </p:cNvCxnSpPr>
          <p:nvPr/>
        </p:nvCxnSpPr>
        <p:spPr>
          <a:xfrm flipH="1" flipV="1">
            <a:off x="6463230" y="4661275"/>
            <a:ext cx="359317" cy="84265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19B26507-7537-48B2-A522-7220639B33CC}"/>
              </a:ext>
            </a:extLst>
          </p:cNvPr>
          <p:cNvSpPr/>
          <p:nvPr/>
        </p:nvSpPr>
        <p:spPr>
          <a:xfrm>
            <a:off x="4320577" y="2231184"/>
            <a:ext cx="3529993" cy="3529994"/>
          </a:xfrm>
          <a:prstGeom prst="ellipse">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Freeform: Shape 48">
            <a:extLst>
              <a:ext uri="{FF2B5EF4-FFF2-40B4-BE49-F238E27FC236}">
                <a16:creationId xmlns:a16="http://schemas.microsoft.com/office/drawing/2014/main" id="{48639D28-B55E-4ADC-ACFB-B92978A605C1}"/>
              </a:ext>
            </a:extLst>
          </p:cNvPr>
          <p:cNvSpPr/>
          <p:nvPr/>
        </p:nvSpPr>
        <p:spPr>
          <a:xfrm>
            <a:off x="5212194" y="3122802"/>
            <a:ext cx="1746758" cy="1746759"/>
          </a:xfrm>
          <a:custGeom>
            <a:avLst/>
            <a:gdLst>
              <a:gd name="connsiteX0" fmla="*/ 1499197 w 1499196"/>
              <a:gd name="connsiteY0" fmla="*/ 749598 h 1499196"/>
              <a:gd name="connsiteX1" fmla="*/ 749598 w 1499196"/>
              <a:gd name="connsiteY1" fmla="*/ 1499197 h 1499196"/>
              <a:gd name="connsiteX2" fmla="*/ 0 w 1499196"/>
              <a:gd name="connsiteY2" fmla="*/ 749598 h 1499196"/>
              <a:gd name="connsiteX3" fmla="*/ 749598 w 1499196"/>
              <a:gd name="connsiteY3" fmla="*/ 0 h 1499196"/>
              <a:gd name="connsiteX4" fmla="*/ 1499197 w 1499196"/>
              <a:gd name="connsiteY4" fmla="*/ 749598 h 1499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9196" h="1499196">
                <a:moveTo>
                  <a:pt x="1499197" y="749598"/>
                </a:moveTo>
                <a:cubicBezTo>
                  <a:pt x="1499197" y="1163590"/>
                  <a:pt x="1163590" y="1499197"/>
                  <a:pt x="749598" y="1499197"/>
                </a:cubicBezTo>
                <a:cubicBezTo>
                  <a:pt x="335607" y="1499197"/>
                  <a:pt x="0" y="1163590"/>
                  <a:pt x="0" y="749598"/>
                </a:cubicBezTo>
                <a:cubicBezTo>
                  <a:pt x="0" y="335607"/>
                  <a:pt x="335607" y="0"/>
                  <a:pt x="749598" y="0"/>
                </a:cubicBezTo>
                <a:cubicBezTo>
                  <a:pt x="1163590" y="0"/>
                  <a:pt x="1499197" y="335607"/>
                  <a:pt x="1499197" y="749598"/>
                </a:cubicBezTo>
                <a:close/>
              </a:path>
            </a:pathLst>
          </a:custGeom>
          <a:solidFill>
            <a:srgbClr val="002060"/>
          </a:solidFill>
          <a:ln w="4990" cap="flat">
            <a:noFill/>
            <a:prstDash val="solid"/>
            <a:miter/>
          </a:ln>
          <a:effectLst>
            <a:outerShdw blurRad="63500" sx="102000" sy="102000" algn="ctr" rotWithShape="0">
              <a:prstClr val="black">
                <a:alpha val="40000"/>
              </a:prstClr>
            </a:outerShdw>
          </a:effectLst>
        </p:spPr>
        <p:txBody>
          <a:bodyPr rtlCol="0" anchor="ctr"/>
          <a:lstStyle/>
          <a:p>
            <a:endParaRPr lang="en-IN" dirty="0"/>
          </a:p>
        </p:txBody>
      </p:sp>
      <p:sp>
        <p:nvSpPr>
          <p:cNvPr id="50" name="Freeform: Shape 49">
            <a:extLst>
              <a:ext uri="{FF2B5EF4-FFF2-40B4-BE49-F238E27FC236}">
                <a16:creationId xmlns:a16="http://schemas.microsoft.com/office/drawing/2014/main" id="{EAC42D61-C273-4449-982C-A24D5A5FBED7}"/>
              </a:ext>
            </a:extLst>
          </p:cNvPr>
          <p:cNvSpPr/>
          <p:nvPr/>
        </p:nvSpPr>
        <p:spPr>
          <a:xfrm>
            <a:off x="5834820" y="1969261"/>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51" name="Freeform: Shape 50">
            <a:extLst>
              <a:ext uri="{FF2B5EF4-FFF2-40B4-BE49-F238E27FC236}">
                <a16:creationId xmlns:a16="http://schemas.microsoft.com/office/drawing/2014/main" id="{3A45E5FA-0069-45C4-B7A6-2A52D8054710}"/>
              </a:ext>
            </a:extLst>
          </p:cNvPr>
          <p:cNvSpPr/>
          <p:nvPr/>
        </p:nvSpPr>
        <p:spPr>
          <a:xfrm>
            <a:off x="7243927" y="2705931"/>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3" name="Freeform: Shape 72">
            <a:extLst>
              <a:ext uri="{FF2B5EF4-FFF2-40B4-BE49-F238E27FC236}">
                <a16:creationId xmlns:a16="http://schemas.microsoft.com/office/drawing/2014/main" id="{C668EDCD-6B28-442F-B7C3-2B0D4897B6F9}"/>
              </a:ext>
            </a:extLst>
          </p:cNvPr>
          <p:cNvSpPr/>
          <p:nvPr/>
        </p:nvSpPr>
        <p:spPr>
          <a:xfrm>
            <a:off x="7561840" y="4160008"/>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4" name="Freeform: Shape 73">
            <a:extLst>
              <a:ext uri="{FF2B5EF4-FFF2-40B4-BE49-F238E27FC236}">
                <a16:creationId xmlns:a16="http://schemas.microsoft.com/office/drawing/2014/main" id="{03F6514F-3D02-4564-ADC8-DC0817BCC948}"/>
              </a:ext>
            </a:extLst>
          </p:cNvPr>
          <p:cNvSpPr/>
          <p:nvPr/>
        </p:nvSpPr>
        <p:spPr>
          <a:xfrm>
            <a:off x="6599409" y="5348494"/>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5" name="Freeform: Shape 74">
            <a:extLst>
              <a:ext uri="{FF2B5EF4-FFF2-40B4-BE49-F238E27FC236}">
                <a16:creationId xmlns:a16="http://schemas.microsoft.com/office/drawing/2014/main" id="{6C561391-988C-4874-A798-F591CEF046D9}"/>
              </a:ext>
            </a:extLst>
          </p:cNvPr>
          <p:cNvSpPr/>
          <p:nvPr/>
        </p:nvSpPr>
        <p:spPr>
          <a:xfrm>
            <a:off x="5070107" y="5348494"/>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6" name="Freeform: Shape 75">
            <a:extLst>
              <a:ext uri="{FF2B5EF4-FFF2-40B4-BE49-F238E27FC236}">
                <a16:creationId xmlns:a16="http://schemas.microsoft.com/office/drawing/2014/main" id="{B4DAE029-E3D6-430E-8906-A24ABCE60AF7}"/>
              </a:ext>
            </a:extLst>
          </p:cNvPr>
          <p:cNvSpPr/>
          <p:nvPr/>
        </p:nvSpPr>
        <p:spPr>
          <a:xfrm>
            <a:off x="4107676" y="4160008"/>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7" name="Freeform: Shape 76">
            <a:extLst>
              <a:ext uri="{FF2B5EF4-FFF2-40B4-BE49-F238E27FC236}">
                <a16:creationId xmlns:a16="http://schemas.microsoft.com/office/drawing/2014/main" id="{7BA855D7-CC73-483D-8655-83DEC862FF66}"/>
              </a:ext>
            </a:extLst>
          </p:cNvPr>
          <p:cNvSpPr/>
          <p:nvPr/>
        </p:nvSpPr>
        <p:spPr>
          <a:xfrm>
            <a:off x="4425672" y="2664139"/>
            <a:ext cx="501506" cy="501506"/>
          </a:xfrm>
          <a:custGeom>
            <a:avLst/>
            <a:gdLst>
              <a:gd name="connsiteX0" fmla="*/ 599679 w 599678"/>
              <a:gd name="connsiteY0" fmla="*/ 299839 h 599678"/>
              <a:gd name="connsiteX1" fmla="*/ 299839 w 599678"/>
              <a:gd name="connsiteY1" fmla="*/ 599679 h 599678"/>
              <a:gd name="connsiteX2" fmla="*/ 0 w 599678"/>
              <a:gd name="connsiteY2" fmla="*/ 299839 h 599678"/>
              <a:gd name="connsiteX3" fmla="*/ 299839 w 599678"/>
              <a:gd name="connsiteY3" fmla="*/ 0 h 599678"/>
              <a:gd name="connsiteX4" fmla="*/ 599679 w 599678"/>
              <a:gd name="connsiteY4" fmla="*/ 299839 h 59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678" h="599678">
                <a:moveTo>
                  <a:pt x="599679" y="299839"/>
                </a:moveTo>
                <a:cubicBezTo>
                  <a:pt x="599679" y="465436"/>
                  <a:pt x="465436" y="599679"/>
                  <a:pt x="299839" y="599679"/>
                </a:cubicBezTo>
                <a:cubicBezTo>
                  <a:pt x="134243" y="599679"/>
                  <a:pt x="0" y="465436"/>
                  <a:pt x="0" y="299839"/>
                </a:cubicBezTo>
                <a:cubicBezTo>
                  <a:pt x="0" y="134243"/>
                  <a:pt x="134243" y="0"/>
                  <a:pt x="299839" y="0"/>
                </a:cubicBezTo>
                <a:cubicBezTo>
                  <a:pt x="465436" y="0"/>
                  <a:pt x="599679" y="134243"/>
                  <a:pt x="599679" y="299839"/>
                </a:cubicBezTo>
                <a:close/>
              </a:path>
            </a:pathLst>
          </a:custGeom>
          <a:solidFill>
            <a:schemeClr val="bg2"/>
          </a:solidFill>
          <a:ln w="4990" cap="flat">
            <a:noFill/>
            <a:prstDash val="solid"/>
            <a:miter/>
          </a:ln>
        </p:spPr>
        <p:txBody>
          <a:bodyPr rtlCol="0" anchor="ctr"/>
          <a:lstStyle/>
          <a:p>
            <a:endParaRPr lang="en-IN" dirty="0"/>
          </a:p>
        </p:txBody>
      </p:sp>
      <p:sp>
        <p:nvSpPr>
          <p:cNvPr id="78" name="Rectangle 77">
            <a:extLst>
              <a:ext uri="{FF2B5EF4-FFF2-40B4-BE49-F238E27FC236}">
                <a16:creationId xmlns:a16="http://schemas.microsoft.com/office/drawing/2014/main" id="{FA1091B8-4DD8-4C8D-8CBD-A2E2CEE60B1F}"/>
              </a:ext>
            </a:extLst>
          </p:cNvPr>
          <p:cNvSpPr/>
          <p:nvPr/>
        </p:nvSpPr>
        <p:spPr>
          <a:xfrm>
            <a:off x="5417433" y="3768161"/>
            <a:ext cx="1336200" cy="523220"/>
          </a:xfrm>
          <a:prstGeom prst="rect">
            <a:avLst/>
          </a:prstGeom>
        </p:spPr>
        <p:txBody>
          <a:bodyPr wrap="none">
            <a:spAutoFit/>
          </a:bodyPr>
          <a:lstStyle/>
          <a:p>
            <a:pPr algn="ctr"/>
            <a:r>
              <a:rPr lang="en-US" sz="2800" b="1" dirty="0">
                <a:solidFill>
                  <a:schemeClr val="bg1"/>
                </a:solidFill>
              </a:rPr>
              <a:t>Toolkit</a:t>
            </a:r>
          </a:p>
        </p:txBody>
      </p:sp>
      <p:pic>
        <p:nvPicPr>
          <p:cNvPr id="79" name="Graphic 78" descr="Group brainstorm">
            <a:extLst>
              <a:ext uri="{FF2B5EF4-FFF2-40B4-BE49-F238E27FC236}">
                <a16:creationId xmlns:a16="http://schemas.microsoft.com/office/drawing/2014/main" id="{8323D500-379C-42EB-829B-5CBA0C9BD1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64470" y="4216803"/>
            <a:ext cx="387917" cy="387917"/>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pic>
        <p:nvPicPr>
          <p:cNvPr id="80" name="Graphic 79" descr="Teacher">
            <a:extLst>
              <a:ext uri="{FF2B5EF4-FFF2-40B4-BE49-F238E27FC236}">
                <a16:creationId xmlns:a16="http://schemas.microsoft.com/office/drawing/2014/main" id="{15E36AB3-1C2B-4419-BA3B-C76E995F1C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84045" y="4282214"/>
            <a:ext cx="257094" cy="257094"/>
          </a:xfrm>
          <a:prstGeom prst="rect">
            <a:avLst/>
          </a:prstGeom>
        </p:spPr>
      </p:pic>
      <p:pic>
        <p:nvPicPr>
          <p:cNvPr id="81" name="Graphic 80" descr="Tools">
            <a:extLst>
              <a:ext uri="{FF2B5EF4-FFF2-40B4-BE49-F238E27FC236}">
                <a16:creationId xmlns:a16="http://schemas.microsoft.com/office/drawing/2014/main" id="{D6EFFCE4-6246-4DF3-ADA4-8908107C41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71312" y="2105752"/>
            <a:ext cx="228523" cy="228523"/>
          </a:xfrm>
          <a:prstGeom prst="rect">
            <a:avLst/>
          </a:prstGeom>
        </p:spPr>
      </p:pic>
      <p:pic>
        <p:nvPicPr>
          <p:cNvPr id="82" name="Graphic 81" descr="Arrow circle">
            <a:extLst>
              <a:ext uri="{FF2B5EF4-FFF2-40B4-BE49-F238E27FC236}">
                <a16:creationId xmlns:a16="http://schemas.microsoft.com/office/drawing/2014/main" id="{CF628464-EBFE-42E9-962A-D71144AD42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82466" y="2720934"/>
            <a:ext cx="387917" cy="387917"/>
          </a:xfrm>
          <a:prstGeom prst="rect">
            <a:avLst/>
          </a:prstGeom>
        </p:spPr>
      </p:pic>
      <p:pic>
        <p:nvPicPr>
          <p:cNvPr id="83" name="Graphic 82" descr="Podium">
            <a:extLst>
              <a:ext uri="{FF2B5EF4-FFF2-40B4-BE49-F238E27FC236}">
                <a16:creationId xmlns:a16="http://schemas.microsoft.com/office/drawing/2014/main" id="{BA885BFE-89BB-4CC9-9B7E-B34C40B6D5D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194229" y="5472615"/>
            <a:ext cx="253262" cy="253262"/>
          </a:xfrm>
          <a:prstGeom prst="rect">
            <a:avLst/>
          </a:prstGeom>
        </p:spPr>
      </p:pic>
      <p:pic>
        <p:nvPicPr>
          <p:cNvPr id="84" name="Graphic 83" descr="Presentation with bar chart RTL">
            <a:extLst>
              <a:ext uri="{FF2B5EF4-FFF2-40B4-BE49-F238E27FC236}">
                <a16:creationId xmlns:a16="http://schemas.microsoft.com/office/drawing/2014/main" id="{0BE82368-4F77-4BDE-ACE8-51420ECE202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703451" y="5452537"/>
            <a:ext cx="293419" cy="293419"/>
          </a:xfrm>
          <a:prstGeom prst="rect">
            <a:avLst/>
          </a:prstGeom>
        </p:spPr>
      </p:pic>
      <p:grpSp>
        <p:nvGrpSpPr>
          <p:cNvPr id="85" name="Group 84">
            <a:extLst>
              <a:ext uri="{FF2B5EF4-FFF2-40B4-BE49-F238E27FC236}">
                <a16:creationId xmlns:a16="http://schemas.microsoft.com/office/drawing/2014/main" id="{29E32D0B-A58E-4E75-B2E7-01A6CE79C7F0}"/>
              </a:ext>
            </a:extLst>
          </p:cNvPr>
          <p:cNvGrpSpPr/>
          <p:nvPr/>
        </p:nvGrpSpPr>
        <p:grpSpPr>
          <a:xfrm>
            <a:off x="7347815" y="2847560"/>
            <a:ext cx="290050" cy="223733"/>
            <a:chOff x="7424687" y="3174814"/>
            <a:chExt cx="462288" cy="356588"/>
          </a:xfrm>
          <a:solidFill>
            <a:schemeClr val="bg1"/>
          </a:solidFill>
        </p:grpSpPr>
        <p:grpSp>
          <p:nvGrpSpPr>
            <p:cNvPr id="86" name="Group 85">
              <a:extLst>
                <a:ext uri="{FF2B5EF4-FFF2-40B4-BE49-F238E27FC236}">
                  <a16:creationId xmlns:a16="http://schemas.microsoft.com/office/drawing/2014/main" id="{8BAAE573-F79A-47C9-8C2F-687422633C8E}"/>
                </a:ext>
              </a:extLst>
            </p:cNvPr>
            <p:cNvGrpSpPr/>
            <p:nvPr/>
          </p:nvGrpSpPr>
          <p:grpSpPr>
            <a:xfrm>
              <a:off x="7424687" y="3174814"/>
              <a:ext cx="462288" cy="356588"/>
              <a:chOff x="737041" y="4275037"/>
              <a:chExt cx="787336" cy="607317"/>
            </a:xfrm>
            <a:grpFill/>
          </p:grpSpPr>
          <p:sp>
            <p:nvSpPr>
              <p:cNvPr id="88" name="Freeform: Shape 87">
                <a:extLst>
                  <a:ext uri="{FF2B5EF4-FFF2-40B4-BE49-F238E27FC236}">
                    <a16:creationId xmlns:a16="http://schemas.microsoft.com/office/drawing/2014/main" id="{3FB55220-15FB-4FEB-A5EE-4A39ABD3A5B7}"/>
                  </a:ext>
                </a:extLst>
              </p:cNvPr>
              <p:cNvSpPr/>
              <p:nvPr/>
            </p:nvSpPr>
            <p:spPr>
              <a:xfrm>
                <a:off x="832290" y="4560785"/>
                <a:ext cx="272986" cy="245251"/>
              </a:xfrm>
              <a:custGeom>
                <a:avLst/>
                <a:gdLst>
                  <a:gd name="connsiteX0" fmla="*/ 19050 w 272986"/>
                  <a:gd name="connsiteY0" fmla="*/ 304800 h 304800"/>
                  <a:gd name="connsiteX1" fmla="*/ 253937 w 272986"/>
                  <a:gd name="connsiteY1" fmla="*/ 304800 h 304800"/>
                  <a:gd name="connsiteX2" fmla="*/ 272987 w 272986"/>
                  <a:gd name="connsiteY2" fmla="*/ 285750 h 304800"/>
                  <a:gd name="connsiteX3" fmla="*/ 272987 w 272986"/>
                  <a:gd name="connsiteY3" fmla="*/ 19050 h 304800"/>
                  <a:gd name="connsiteX4" fmla="*/ 253937 w 272986"/>
                  <a:gd name="connsiteY4" fmla="*/ 0 h 304800"/>
                  <a:gd name="connsiteX5" fmla="*/ 19050 w 272986"/>
                  <a:gd name="connsiteY5" fmla="*/ 0 h 304800"/>
                  <a:gd name="connsiteX6" fmla="*/ 0 w 272986"/>
                  <a:gd name="connsiteY6" fmla="*/ 19050 h 304800"/>
                  <a:gd name="connsiteX7" fmla="*/ 0 w 272986"/>
                  <a:gd name="connsiteY7" fmla="*/ 285750 h 304800"/>
                  <a:gd name="connsiteX8" fmla="*/ 19050 w 272986"/>
                  <a:gd name="connsiteY8" fmla="*/ 304800 h 304800"/>
                  <a:gd name="connsiteX9" fmla="*/ 38100 w 272986"/>
                  <a:gd name="connsiteY9" fmla="*/ 38100 h 304800"/>
                  <a:gd name="connsiteX10" fmla="*/ 234887 w 272986"/>
                  <a:gd name="connsiteY10" fmla="*/ 38100 h 304800"/>
                  <a:gd name="connsiteX11" fmla="*/ 234887 w 272986"/>
                  <a:gd name="connsiteY11" fmla="*/ 266700 h 304800"/>
                  <a:gd name="connsiteX12" fmla="*/ 38100 w 272986"/>
                  <a:gd name="connsiteY12" fmla="*/ 2667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19050" y="304800"/>
                    </a:moveTo>
                    <a:lnTo>
                      <a:pt x="253937" y="304800"/>
                    </a:lnTo>
                    <a:cubicBezTo>
                      <a:pt x="264458" y="304800"/>
                      <a:pt x="272987" y="296271"/>
                      <a:pt x="272987" y="285750"/>
                    </a:cubicBezTo>
                    <a:lnTo>
                      <a:pt x="272987" y="19050"/>
                    </a:lnTo>
                    <a:cubicBezTo>
                      <a:pt x="272987" y="8529"/>
                      <a:pt x="264458" y="0"/>
                      <a:pt x="253937" y="0"/>
                    </a:cubicBezTo>
                    <a:lnTo>
                      <a:pt x="19050" y="0"/>
                    </a:lnTo>
                    <a:cubicBezTo>
                      <a:pt x="8529" y="0"/>
                      <a:pt x="0" y="8529"/>
                      <a:pt x="0" y="19050"/>
                    </a:cubicBezTo>
                    <a:lnTo>
                      <a:pt x="0" y="285750"/>
                    </a:lnTo>
                    <a:cubicBezTo>
                      <a:pt x="0" y="296271"/>
                      <a:pt x="8529" y="304800"/>
                      <a:pt x="19050" y="304800"/>
                    </a:cubicBezTo>
                    <a:close/>
                    <a:moveTo>
                      <a:pt x="38100" y="38100"/>
                    </a:moveTo>
                    <a:lnTo>
                      <a:pt x="234887" y="38100"/>
                    </a:lnTo>
                    <a:lnTo>
                      <a:pt x="234887" y="266700"/>
                    </a:lnTo>
                    <a:lnTo>
                      <a:pt x="38100" y="266700"/>
                    </a:lnTo>
                    <a:close/>
                  </a:path>
                </a:pathLst>
              </a:custGeom>
              <a:grpFill/>
              <a:ln w="9525" cap="flat">
                <a:noFill/>
                <a:prstDash val="solid"/>
                <a:miter/>
              </a:ln>
            </p:spPr>
            <p:txBody>
              <a:bodyPr rtlCol="0" anchor="ctr"/>
              <a:lstStyle/>
              <a:p>
                <a:endParaRPr lang="en-IN" dirty="0"/>
              </a:p>
            </p:txBody>
          </p:sp>
          <p:sp>
            <p:nvSpPr>
              <p:cNvPr id="89" name="Freeform: Shape 88">
                <a:extLst>
                  <a:ext uri="{FF2B5EF4-FFF2-40B4-BE49-F238E27FC236}">
                    <a16:creationId xmlns:a16="http://schemas.microsoft.com/office/drawing/2014/main" id="{1B38D6B2-8F48-48AF-A353-BFC5A0DD84F6}"/>
                  </a:ext>
                </a:extLst>
              </p:cNvPr>
              <p:cNvSpPr/>
              <p:nvPr/>
            </p:nvSpPr>
            <p:spPr>
              <a:xfrm>
                <a:off x="1156142" y="4560785"/>
                <a:ext cx="272986" cy="245251"/>
              </a:xfrm>
              <a:custGeom>
                <a:avLst/>
                <a:gdLst>
                  <a:gd name="connsiteX0" fmla="*/ 253937 w 272986"/>
                  <a:gd name="connsiteY0" fmla="*/ 0 h 304800"/>
                  <a:gd name="connsiteX1" fmla="*/ 19050 w 272986"/>
                  <a:gd name="connsiteY1" fmla="*/ 0 h 304800"/>
                  <a:gd name="connsiteX2" fmla="*/ 0 w 272986"/>
                  <a:gd name="connsiteY2" fmla="*/ 19050 h 304800"/>
                  <a:gd name="connsiteX3" fmla="*/ 0 w 272986"/>
                  <a:gd name="connsiteY3" fmla="*/ 285750 h 304800"/>
                  <a:gd name="connsiteX4" fmla="*/ 19050 w 272986"/>
                  <a:gd name="connsiteY4" fmla="*/ 304800 h 304800"/>
                  <a:gd name="connsiteX5" fmla="*/ 253937 w 272986"/>
                  <a:gd name="connsiteY5" fmla="*/ 304800 h 304800"/>
                  <a:gd name="connsiteX6" fmla="*/ 272987 w 272986"/>
                  <a:gd name="connsiteY6" fmla="*/ 285750 h 304800"/>
                  <a:gd name="connsiteX7" fmla="*/ 272987 w 272986"/>
                  <a:gd name="connsiteY7" fmla="*/ 19050 h 304800"/>
                  <a:gd name="connsiteX8" fmla="*/ 253937 w 272986"/>
                  <a:gd name="connsiteY8" fmla="*/ 0 h 304800"/>
                  <a:gd name="connsiteX9" fmla="*/ 234887 w 272986"/>
                  <a:gd name="connsiteY9" fmla="*/ 266700 h 304800"/>
                  <a:gd name="connsiteX10" fmla="*/ 38100 w 272986"/>
                  <a:gd name="connsiteY10" fmla="*/ 266700 h 304800"/>
                  <a:gd name="connsiteX11" fmla="*/ 38100 w 272986"/>
                  <a:gd name="connsiteY11" fmla="*/ 38100 h 304800"/>
                  <a:gd name="connsiteX12" fmla="*/ 234887 w 272986"/>
                  <a:gd name="connsiteY12"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253937" y="0"/>
                    </a:moveTo>
                    <a:lnTo>
                      <a:pt x="19050" y="0"/>
                    </a:lnTo>
                    <a:cubicBezTo>
                      <a:pt x="8529" y="0"/>
                      <a:pt x="0" y="8529"/>
                      <a:pt x="0" y="19050"/>
                    </a:cubicBezTo>
                    <a:lnTo>
                      <a:pt x="0" y="285750"/>
                    </a:lnTo>
                    <a:cubicBezTo>
                      <a:pt x="0" y="296271"/>
                      <a:pt x="8529" y="304800"/>
                      <a:pt x="19050" y="304800"/>
                    </a:cubicBezTo>
                    <a:lnTo>
                      <a:pt x="253937" y="304800"/>
                    </a:lnTo>
                    <a:cubicBezTo>
                      <a:pt x="264458" y="304800"/>
                      <a:pt x="272987" y="296271"/>
                      <a:pt x="272987" y="285750"/>
                    </a:cubicBezTo>
                    <a:lnTo>
                      <a:pt x="272987" y="19050"/>
                    </a:lnTo>
                    <a:cubicBezTo>
                      <a:pt x="272987" y="8529"/>
                      <a:pt x="264458" y="0"/>
                      <a:pt x="253937" y="0"/>
                    </a:cubicBezTo>
                    <a:close/>
                    <a:moveTo>
                      <a:pt x="234887" y="266700"/>
                    </a:moveTo>
                    <a:lnTo>
                      <a:pt x="38100" y="266700"/>
                    </a:lnTo>
                    <a:lnTo>
                      <a:pt x="38100" y="38100"/>
                    </a:lnTo>
                    <a:lnTo>
                      <a:pt x="234887" y="38100"/>
                    </a:lnTo>
                    <a:close/>
                  </a:path>
                </a:pathLst>
              </a:custGeom>
              <a:grpFill/>
              <a:ln w="9525" cap="flat">
                <a:noFill/>
                <a:prstDash val="solid"/>
                <a:miter/>
              </a:ln>
            </p:spPr>
            <p:txBody>
              <a:bodyPr rtlCol="0" anchor="ctr"/>
              <a:lstStyle/>
              <a:p>
                <a:endParaRPr lang="en-IN" dirty="0"/>
              </a:p>
            </p:txBody>
          </p:sp>
          <p:sp>
            <p:nvSpPr>
              <p:cNvPr id="90" name="Freeform: Shape 89">
                <a:extLst>
                  <a:ext uri="{FF2B5EF4-FFF2-40B4-BE49-F238E27FC236}">
                    <a16:creationId xmlns:a16="http://schemas.microsoft.com/office/drawing/2014/main" id="{BDE07091-593F-4249-82C4-EEA83A8EE56D}"/>
                  </a:ext>
                </a:extLst>
              </p:cNvPr>
              <p:cNvSpPr/>
              <p:nvPr/>
            </p:nvSpPr>
            <p:spPr>
              <a:xfrm>
                <a:off x="737041" y="4275037"/>
                <a:ext cx="787336" cy="607317"/>
              </a:xfrm>
              <a:custGeom>
                <a:avLst/>
                <a:gdLst>
                  <a:gd name="connsiteX0" fmla="*/ 787337 w 787336"/>
                  <a:gd name="connsiteY0" fmla="*/ 685800 h 704850"/>
                  <a:gd name="connsiteX1" fmla="*/ 787337 w 787336"/>
                  <a:gd name="connsiteY1" fmla="*/ 19050 h 704850"/>
                  <a:gd name="connsiteX2" fmla="*/ 768287 w 787336"/>
                  <a:gd name="connsiteY2" fmla="*/ 0 h 704850"/>
                  <a:gd name="connsiteX3" fmla="*/ 19050 w 787336"/>
                  <a:gd name="connsiteY3" fmla="*/ 0 h 704850"/>
                  <a:gd name="connsiteX4" fmla="*/ 0 w 787336"/>
                  <a:gd name="connsiteY4" fmla="*/ 19050 h 704850"/>
                  <a:gd name="connsiteX5" fmla="*/ 0 w 787336"/>
                  <a:gd name="connsiteY5" fmla="*/ 685800 h 704850"/>
                  <a:gd name="connsiteX6" fmla="*/ 19050 w 787336"/>
                  <a:gd name="connsiteY6" fmla="*/ 704850 h 704850"/>
                  <a:gd name="connsiteX7" fmla="*/ 768287 w 787336"/>
                  <a:gd name="connsiteY7" fmla="*/ 704850 h 704850"/>
                  <a:gd name="connsiteX8" fmla="*/ 787337 w 787336"/>
                  <a:gd name="connsiteY8" fmla="*/ 685800 h 704850"/>
                  <a:gd name="connsiteX9" fmla="*/ 749237 w 787336"/>
                  <a:gd name="connsiteY9" fmla="*/ 666750 h 704850"/>
                  <a:gd name="connsiteX10" fmla="*/ 38100 w 787336"/>
                  <a:gd name="connsiteY10" fmla="*/ 666750 h 704850"/>
                  <a:gd name="connsiteX11" fmla="*/ 38100 w 787336"/>
                  <a:gd name="connsiteY11" fmla="*/ 38100 h 704850"/>
                  <a:gd name="connsiteX12" fmla="*/ 749237 w 787336"/>
                  <a:gd name="connsiteY12" fmla="*/ 3810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7336" h="704850">
                    <a:moveTo>
                      <a:pt x="787337" y="685800"/>
                    </a:moveTo>
                    <a:lnTo>
                      <a:pt x="787337" y="19050"/>
                    </a:lnTo>
                    <a:cubicBezTo>
                      <a:pt x="787337" y="8529"/>
                      <a:pt x="778808" y="0"/>
                      <a:pt x="768287" y="0"/>
                    </a:cubicBezTo>
                    <a:lnTo>
                      <a:pt x="19050" y="0"/>
                    </a:lnTo>
                    <a:cubicBezTo>
                      <a:pt x="8529" y="0"/>
                      <a:pt x="0" y="8529"/>
                      <a:pt x="0" y="19050"/>
                    </a:cubicBezTo>
                    <a:lnTo>
                      <a:pt x="0" y="685800"/>
                    </a:lnTo>
                    <a:cubicBezTo>
                      <a:pt x="0" y="696321"/>
                      <a:pt x="8529" y="704850"/>
                      <a:pt x="19050" y="704850"/>
                    </a:cubicBezTo>
                    <a:lnTo>
                      <a:pt x="768287" y="704850"/>
                    </a:lnTo>
                    <a:cubicBezTo>
                      <a:pt x="778808" y="704850"/>
                      <a:pt x="787337" y="696321"/>
                      <a:pt x="787337" y="685800"/>
                    </a:cubicBezTo>
                    <a:close/>
                    <a:moveTo>
                      <a:pt x="749237" y="666750"/>
                    </a:moveTo>
                    <a:lnTo>
                      <a:pt x="38100" y="666750"/>
                    </a:lnTo>
                    <a:lnTo>
                      <a:pt x="38100" y="38100"/>
                    </a:lnTo>
                    <a:lnTo>
                      <a:pt x="749237" y="38100"/>
                    </a:lnTo>
                    <a:close/>
                  </a:path>
                </a:pathLst>
              </a:custGeom>
              <a:grpFill/>
              <a:ln w="9525" cap="flat">
                <a:noFill/>
                <a:prstDash val="solid"/>
                <a:miter/>
              </a:ln>
            </p:spPr>
            <p:txBody>
              <a:bodyPr rtlCol="0" anchor="ctr"/>
              <a:lstStyle/>
              <a:p>
                <a:endParaRPr lang="en-IN" dirty="0"/>
              </a:p>
            </p:txBody>
          </p:sp>
        </p:grpSp>
        <p:sp>
          <p:nvSpPr>
            <p:cNvPr id="87" name="Rectangle 86">
              <a:extLst>
                <a:ext uri="{FF2B5EF4-FFF2-40B4-BE49-F238E27FC236}">
                  <a16:creationId xmlns:a16="http://schemas.microsoft.com/office/drawing/2014/main" id="{07B5BB67-6AA6-4F80-BA26-0E6A66E033DD}"/>
                </a:ext>
              </a:extLst>
            </p:cNvPr>
            <p:cNvSpPr/>
            <p:nvPr/>
          </p:nvSpPr>
          <p:spPr>
            <a:xfrm>
              <a:off x="7493831" y="3241860"/>
              <a:ext cx="324000" cy="54000"/>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Tree>
    <p:extLst>
      <p:ext uri="{BB962C8B-B14F-4D97-AF65-F5344CB8AC3E}">
        <p14:creationId xmlns:p14="http://schemas.microsoft.com/office/powerpoint/2010/main" val="62308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bjectives</a:t>
            </a:r>
            <a:br>
              <a:rPr lang="en-US" sz="2400" dirty="0"/>
            </a:br>
            <a:r>
              <a:rPr lang="en-GB" sz="1800" b="0" dirty="0"/>
              <a:t>The Risk Management Toolkit includes frameworks, tools, templates, tutorials, </a:t>
            </a:r>
            <a:r>
              <a:rPr lang="en-GB" sz="1800" b="0"/>
              <a:t>real-life examples</a:t>
            </a:r>
            <a:r>
              <a:rPr lang="en-GB" sz="1800" b="0" dirty="0"/>
              <a:t>,</a:t>
            </a:r>
            <a:r>
              <a:rPr lang="en-GB" sz="1800" b="0"/>
              <a:t> </a:t>
            </a:r>
            <a:r>
              <a:rPr lang="en-GB" sz="1800" b="0" dirty="0"/>
              <a:t>and best practices to help you:</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Rectangle 6">
            <a:extLst>
              <a:ext uri="{FF2B5EF4-FFF2-40B4-BE49-F238E27FC236}">
                <a16:creationId xmlns:a16="http://schemas.microsoft.com/office/drawing/2014/main" id="{6873D066-724E-4E57-89E0-1F7649425086}"/>
              </a:ext>
            </a:extLst>
          </p:cNvPr>
          <p:cNvSpPr/>
          <p:nvPr/>
        </p:nvSpPr>
        <p:spPr>
          <a:xfrm>
            <a:off x="514114" y="1561681"/>
            <a:ext cx="11094412" cy="3562514"/>
          </a:xfrm>
          <a:prstGeom prst="rect">
            <a:avLst/>
          </a:prstGeom>
        </p:spPr>
        <p:txBody>
          <a:bodyPr wrap="square">
            <a:spAutoFit/>
          </a:bodyPr>
          <a:lstStyle/>
          <a:p>
            <a:pPr marL="174625" lvl="1" indent="-174625">
              <a:spcBef>
                <a:spcPts val="600"/>
              </a:spcBef>
              <a:spcAft>
                <a:spcPts val="600"/>
              </a:spcAft>
              <a:buFont typeface="Arial" panose="020B0604020202020204" pitchFamily="34" charset="0"/>
              <a:buChar char="•"/>
              <a:defRPr/>
            </a:pPr>
            <a:r>
              <a:rPr lang="en-GB" sz="1400" b="1" dirty="0"/>
              <a:t>Define and implement your risk management strategy and plan: </a:t>
            </a:r>
            <a:r>
              <a:rPr lang="en-GB" sz="1400" dirty="0"/>
              <a:t>(1) Summary of the corporate and business strategy, (2) Risk appetite, (3) Risk management capability maturity model, (4) Risk management mission</a:t>
            </a:r>
            <a:r>
              <a:rPr lang="en-GB" sz="1400"/>
              <a:t>, vision</a:t>
            </a:r>
            <a:r>
              <a:rPr lang="en-GB" sz="1400" dirty="0"/>
              <a:t>,</a:t>
            </a:r>
            <a:r>
              <a:rPr lang="en-GB" sz="1400"/>
              <a:t> </a:t>
            </a:r>
            <a:r>
              <a:rPr lang="en-GB" sz="1400" dirty="0"/>
              <a:t>and strategic objectives, (5) Risk management KPIs</a:t>
            </a:r>
            <a:r>
              <a:rPr lang="en-GB" sz="1400"/>
              <a:t>, targets</a:t>
            </a:r>
            <a:r>
              <a:rPr lang="en-GB" sz="1400" dirty="0"/>
              <a:t>,</a:t>
            </a:r>
            <a:r>
              <a:rPr lang="en-GB" sz="1400"/>
              <a:t> </a:t>
            </a:r>
            <a:r>
              <a:rPr lang="en-GB" sz="1400" dirty="0"/>
              <a:t>and initiatives, (6) Roadmap to reach our strategic objectives, (7) Risk management team and budget, (8) Governance structure, (9) Guiding principles, (10) Framework to manage risk</a:t>
            </a:r>
          </a:p>
          <a:p>
            <a:pPr marL="174625" lvl="1" indent="-174625">
              <a:spcBef>
                <a:spcPts val="600"/>
              </a:spcBef>
              <a:spcAft>
                <a:spcPts val="600"/>
              </a:spcAft>
              <a:buFont typeface="Arial" panose="020B0604020202020204" pitchFamily="34" charset="0"/>
              <a:buChar char="•"/>
              <a:defRPr/>
            </a:pPr>
            <a:r>
              <a:rPr lang="en-GB" sz="1400" b="1" dirty="0"/>
              <a:t>Easily identify</a:t>
            </a:r>
            <a:r>
              <a:rPr lang="en-GB" sz="1400" b="1"/>
              <a:t>, assess</a:t>
            </a:r>
            <a:r>
              <a:rPr lang="en-GB" sz="1400" b="1" dirty="0"/>
              <a:t>,</a:t>
            </a:r>
            <a:r>
              <a:rPr lang="en-GB" sz="1400" b="1"/>
              <a:t> </a:t>
            </a:r>
            <a:r>
              <a:rPr lang="en-GB" sz="1400" b="1" dirty="0"/>
              <a:t>and mitigate the key </a:t>
            </a:r>
            <a:r>
              <a:rPr lang="en-GB" sz="1400" b="1"/>
              <a:t>risks and issues </a:t>
            </a:r>
            <a:r>
              <a:rPr lang="en-GB" sz="1400" b="1" dirty="0"/>
              <a:t>of your project or company </a:t>
            </a:r>
            <a:r>
              <a:rPr lang="en-GB" sz="1400" dirty="0"/>
              <a:t>by leveraging our risk management 7-phase approach, risk log, issue log, risk assessment matrix, and </a:t>
            </a:r>
            <a:r>
              <a:rPr lang="en-GB" sz="1400"/>
              <a:t>risk and issue </a:t>
            </a:r>
            <a:r>
              <a:rPr lang="en-GB" sz="1400" dirty="0"/>
              <a:t>dashboard</a:t>
            </a:r>
          </a:p>
          <a:p>
            <a:pPr marL="174625" lvl="1" indent="-174625">
              <a:spcBef>
                <a:spcPts val="600"/>
              </a:spcBef>
              <a:spcAft>
                <a:spcPts val="600"/>
              </a:spcAft>
              <a:buFont typeface="Arial" panose="020B0604020202020204" pitchFamily="34" charset="0"/>
              <a:buChar char="•"/>
              <a:defRPr/>
            </a:pPr>
            <a:r>
              <a:rPr lang="en-GB" sz="1400" b="1" dirty="0"/>
              <a:t>Prioritize your risks </a:t>
            </a:r>
            <a:r>
              <a:rPr lang="en-GB" sz="1400" dirty="0"/>
              <a:t>based on the potential impact of the risk and the probability of the risk to happen</a:t>
            </a:r>
          </a:p>
          <a:p>
            <a:pPr marL="174625" lvl="1" indent="-174625">
              <a:spcBef>
                <a:spcPts val="600"/>
              </a:spcBef>
              <a:spcAft>
                <a:spcPts val="600"/>
              </a:spcAft>
              <a:buFont typeface="Arial" panose="020B0604020202020204" pitchFamily="34" charset="0"/>
              <a:buChar char="•"/>
              <a:defRPr/>
            </a:pPr>
            <a:r>
              <a:rPr lang="en-GB" sz="1400" b="1" dirty="0"/>
              <a:t>Automatically calculate your number of high</a:t>
            </a:r>
            <a:r>
              <a:rPr lang="en-GB" sz="1400" b="1"/>
              <a:t>, medium</a:t>
            </a:r>
            <a:r>
              <a:rPr lang="en-GB" sz="1400" b="1" dirty="0"/>
              <a:t>,</a:t>
            </a:r>
            <a:r>
              <a:rPr lang="en-GB" sz="1400" b="1"/>
              <a:t> </a:t>
            </a:r>
            <a:r>
              <a:rPr lang="en-GB" sz="1400" b="1" dirty="0"/>
              <a:t>and low priority </a:t>
            </a:r>
            <a:r>
              <a:rPr lang="en-GB" sz="1400" b="1"/>
              <a:t>risks and issues </a:t>
            </a:r>
            <a:r>
              <a:rPr lang="en-GB" sz="1400" dirty="0"/>
              <a:t>with our </a:t>
            </a:r>
            <a:r>
              <a:rPr lang="en-GB" sz="1400"/>
              <a:t>risk and issue </a:t>
            </a:r>
            <a:r>
              <a:rPr lang="en-GB" sz="1400" dirty="0"/>
              <a:t>dashboard</a:t>
            </a:r>
          </a:p>
          <a:p>
            <a:pPr marL="174625" lvl="1" indent="-174625">
              <a:spcBef>
                <a:spcPts val="600"/>
              </a:spcBef>
              <a:spcAft>
                <a:spcPts val="600"/>
              </a:spcAft>
              <a:buFont typeface="Arial" panose="020B0604020202020204" pitchFamily="34" charset="0"/>
              <a:buChar char="•"/>
              <a:defRPr/>
            </a:pPr>
            <a:r>
              <a:rPr lang="en-GB" sz="1400" b="1" dirty="0"/>
              <a:t>Present a robust risk management approach and risk assessment overview </a:t>
            </a:r>
            <a:r>
              <a:rPr lang="en-GB" sz="1400" dirty="0"/>
              <a:t>to your board of directors, </a:t>
            </a:r>
            <a:r>
              <a:rPr lang="en-GB" sz="1400"/>
              <a:t>executive committee</a:t>
            </a:r>
            <a:r>
              <a:rPr lang="en-GB" sz="1400" dirty="0"/>
              <a:t>,</a:t>
            </a:r>
            <a:r>
              <a:rPr lang="en-GB" sz="1400"/>
              <a:t> </a:t>
            </a:r>
            <a:r>
              <a:rPr lang="en-GB" sz="1400" dirty="0"/>
              <a:t>or program manager</a:t>
            </a:r>
          </a:p>
          <a:p>
            <a:pPr marL="174625" lvl="1" indent="-174625">
              <a:spcBef>
                <a:spcPts val="600"/>
              </a:spcBef>
              <a:spcAft>
                <a:spcPts val="600"/>
              </a:spcAft>
              <a:buFont typeface="Arial" panose="020B0604020202020204" pitchFamily="34" charset="0"/>
              <a:buChar char="•"/>
              <a:defRPr/>
            </a:pPr>
            <a:r>
              <a:rPr lang="en-GB" sz="1400" b="1" dirty="0"/>
              <a:t>Get a high-level view of all your risks </a:t>
            </a:r>
            <a:r>
              <a:rPr lang="en-GB" sz="1400" dirty="0"/>
              <a:t>with </a:t>
            </a:r>
            <a:r>
              <a:rPr lang="en-GB" sz="1400"/>
              <a:t>our </a:t>
            </a:r>
            <a:r>
              <a:rPr lang="en-GB" sz="1400" dirty="0"/>
              <a:t>3-by-3</a:t>
            </a:r>
            <a:r>
              <a:rPr lang="en-GB" sz="1400"/>
              <a:t> risk prioritization matrix and </a:t>
            </a:r>
            <a:r>
              <a:rPr lang="en-GB" sz="1400" dirty="0"/>
              <a:t>5-by-5</a:t>
            </a:r>
            <a:r>
              <a:rPr lang="en-GB" sz="1400"/>
              <a:t> risk prioritization matrix</a:t>
            </a:r>
            <a:endParaRPr lang="en-GB" sz="1400" dirty="0"/>
          </a:p>
          <a:p>
            <a:pPr marL="0" lvl="1">
              <a:spcBef>
                <a:spcPts val="300"/>
              </a:spcBef>
              <a:spcAft>
                <a:spcPts val="300"/>
              </a:spcAft>
              <a:defRPr/>
            </a:pPr>
            <a:endParaRPr lang="en-US" sz="1400" b="1" dirty="0"/>
          </a:p>
        </p:txBody>
      </p:sp>
    </p:spTree>
    <p:extLst>
      <p:ext uri="{BB962C8B-B14F-4D97-AF65-F5344CB8AC3E}">
        <p14:creationId xmlns:p14="http://schemas.microsoft.com/office/powerpoint/2010/main" val="3272444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cope of the Risk Management Toolki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61" name="AutoShape 11">
            <a:extLst>
              <a:ext uri="{FF2B5EF4-FFF2-40B4-BE49-F238E27FC236}">
                <a16:creationId xmlns:a16="http://schemas.microsoft.com/office/drawing/2014/main" id="{CC7660AE-1F20-463A-8717-87D5A7A260F9}"/>
              </a:ext>
            </a:extLst>
          </p:cNvPr>
          <p:cNvSpPr>
            <a:spLocks/>
          </p:cNvSpPr>
          <p:nvPr/>
        </p:nvSpPr>
        <p:spPr bwMode="auto">
          <a:xfrm rot="10800000" flipH="1">
            <a:off x="7471323" y="4465014"/>
            <a:ext cx="3898987" cy="992859"/>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a:p>
        </p:txBody>
      </p:sp>
      <p:sp>
        <p:nvSpPr>
          <p:cNvPr id="62" name="AutoShape 11">
            <a:extLst>
              <a:ext uri="{FF2B5EF4-FFF2-40B4-BE49-F238E27FC236}">
                <a16:creationId xmlns:a16="http://schemas.microsoft.com/office/drawing/2014/main" id="{EBDCDE48-0A8A-4A17-958B-0E95A1CE6469}"/>
              </a:ext>
            </a:extLst>
          </p:cNvPr>
          <p:cNvSpPr>
            <a:spLocks/>
          </p:cNvSpPr>
          <p:nvPr/>
        </p:nvSpPr>
        <p:spPr bwMode="auto">
          <a:xfrm flipH="1">
            <a:off x="891221" y="3108058"/>
            <a:ext cx="3897478" cy="1015269"/>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a:p>
        </p:txBody>
      </p:sp>
      <p:sp>
        <p:nvSpPr>
          <p:cNvPr id="63" name="AutoShape 11">
            <a:extLst>
              <a:ext uri="{FF2B5EF4-FFF2-40B4-BE49-F238E27FC236}">
                <a16:creationId xmlns:a16="http://schemas.microsoft.com/office/drawing/2014/main" id="{935F69A5-D14F-4621-A746-09C0FC0E97C0}"/>
              </a:ext>
            </a:extLst>
          </p:cNvPr>
          <p:cNvSpPr>
            <a:spLocks/>
          </p:cNvSpPr>
          <p:nvPr/>
        </p:nvSpPr>
        <p:spPr bwMode="auto">
          <a:xfrm>
            <a:off x="5680387" y="1798160"/>
            <a:ext cx="3897478" cy="1013797"/>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dirty="0"/>
          </a:p>
        </p:txBody>
      </p:sp>
      <p:sp>
        <p:nvSpPr>
          <p:cNvPr id="64" name="Freeform 3">
            <a:extLst>
              <a:ext uri="{FF2B5EF4-FFF2-40B4-BE49-F238E27FC236}">
                <a16:creationId xmlns:a16="http://schemas.microsoft.com/office/drawing/2014/main" id="{DD43FB88-208E-40AF-8181-DEBF5069AFD9}"/>
              </a:ext>
            </a:extLst>
          </p:cNvPr>
          <p:cNvSpPr>
            <a:spLocks/>
          </p:cNvSpPr>
          <p:nvPr/>
        </p:nvSpPr>
        <p:spPr bwMode="auto">
          <a:xfrm>
            <a:off x="3893233" y="3865840"/>
            <a:ext cx="3578090" cy="1301241"/>
          </a:xfrm>
          <a:custGeom>
            <a:avLst/>
            <a:gdLst>
              <a:gd name="T0" fmla="*/ 0 w 947"/>
              <a:gd name="T1" fmla="*/ 198 h 430"/>
              <a:gd name="T2" fmla="*/ 473 w 947"/>
              <a:gd name="T3" fmla="*/ 0 h 430"/>
              <a:gd name="T4" fmla="*/ 947 w 947"/>
              <a:gd name="T5" fmla="*/ 198 h 430"/>
              <a:gd name="T6" fmla="*/ 473 w 947"/>
              <a:gd name="T7" fmla="*/ 430 h 430"/>
              <a:gd name="T8" fmla="*/ 0 w 947"/>
              <a:gd name="T9" fmla="*/ 198 h 430"/>
            </a:gdLst>
            <a:ahLst/>
            <a:cxnLst>
              <a:cxn ang="0">
                <a:pos x="T0" y="T1"/>
              </a:cxn>
              <a:cxn ang="0">
                <a:pos x="T2" y="T3"/>
              </a:cxn>
              <a:cxn ang="0">
                <a:pos x="T4" y="T5"/>
              </a:cxn>
              <a:cxn ang="0">
                <a:pos x="T6" y="T7"/>
              </a:cxn>
              <a:cxn ang="0">
                <a:pos x="T8" y="T9"/>
              </a:cxn>
            </a:cxnLst>
            <a:rect l="0" t="0" r="r" b="b"/>
            <a:pathLst>
              <a:path w="947" h="430">
                <a:moveTo>
                  <a:pt x="0" y="198"/>
                </a:moveTo>
                <a:lnTo>
                  <a:pt x="473" y="0"/>
                </a:lnTo>
                <a:lnTo>
                  <a:pt x="947" y="198"/>
                </a:lnTo>
                <a:lnTo>
                  <a:pt x="473" y="430"/>
                </a:lnTo>
                <a:lnTo>
                  <a:pt x="0" y="198"/>
                </a:lnTo>
                <a:close/>
              </a:path>
            </a:pathLst>
          </a:custGeom>
          <a:solidFill>
            <a:schemeClr val="accent1">
              <a:lumMod val="50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5" name="Freeform 4">
            <a:extLst>
              <a:ext uri="{FF2B5EF4-FFF2-40B4-BE49-F238E27FC236}">
                <a16:creationId xmlns:a16="http://schemas.microsoft.com/office/drawing/2014/main" id="{82666A47-DA3B-46F4-9A0D-ECA3675D68D1}"/>
              </a:ext>
            </a:extLst>
          </p:cNvPr>
          <p:cNvSpPr>
            <a:spLocks/>
          </p:cNvSpPr>
          <p:nvPr/>
        </p:nvSpPr>
        <p:spPr bwMode="auto">
          <a:xfrm>
            <a:off x="5680387" y="4465015"/>
            <a:ext cx="2622171" cy="2030539"/>
          </a:xfrm>
          <a:custGeom>
            <a:avLst/>
            <a:gdLst>
              <a:gd name="T0" fmla="*/ 0 w 694"/>
              <a:gd name="T1" fmla="*/ 671 h 671"/>
              <a:gd name="T2" fmla="*/ 694 w 694"/>
              <a:gd name="T3" fmla="*/ 329 h 671"/>
              <a:gd name="T4" fmla="*/ 474 w 694"/>
              <a:gd name="T5" fmla="*/ 0 h 671"/>
              <a:gd name="T6" fmla="*/ 0 w 694"/>
              <a:gd name="T7" fmla="*/ 232 h 671"/>
              <a:gd name="T8" fmla="*/ 0 w 694"/>
              <a:gd name="T9" fmla="*/ 671 h 671"/>
            </a:gdLst>
            <a:ahLst/>
            <a:cxnLst>
              <a:cxn ang="0">
                <a:pos x="T0" y="T1"/>
              </a:cxn>
              <a:cxn ang="0">
                <a:pos x="T2" y="T3"/>
              </a:cxn>
              <a:cxn ang="0">
                <a:pos x="T4" y="T5"/>
              </a:cxn>
              <a:cxn ang="0">
                <a:pos x="T6" y="T7"/>
              </a:cxn>
              <a:cxn ang="0">
                <a:pos x="T8" y="T9"/>
              </a:cxn>
            </a:cxnLst>
            <a:rect l="0" t="0" r="r" b="b"/>
            <a:pathLst>
              <a:path w="694" h="671">
                <a:moveTo>
                  <a:pt x="0" y="671"/>
                </a:moveTo>
                <a:lnTo>
                  <a:pt x="694" y="329"/>
                </a:lnTo>
                <a:lnTo>
                  <a:pt x="474" y="0"/>
                </a:lnTo>
                <a:lnTo>
                  <a:pt x="0" y="232"/>
                </a:lnTo>
                <a:lnTo>
                  <a:pt x="0" y="671"/>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6" name="Freeform 5">
            <a:extLst>
              <a:ext uri="{FF2B5EF4-FFF2-40B4-BE49-F238E27FC236}">
                <a16:creationId xmlns:a16="http://schemas.microsoft.com/office/drawing/2014/main" id="{85B32315-D9BA-409A-8EFE-3E95B88C8023}"/>
              </a:ext>
            </a:extLst>
          </p:cNvPr>
          <p:cNvSpPr>
            <a:spLocks/>
          </p:cNvSpPr>
          <p:nvPr/>
        </p:nvSpPr>
        <p:spPr bwMode="auto">
          <a:xfrm>
            <a:off x="3061997" y="4465015"/>
            <a:ext cx="2618391" cy="2030539"/>
          </a:xfrm>
          <a:custGeom>
            <a:avLst/>
            <a:gdLst>
              <a:gd name="T0" fmla="*/ 693 w 693"/>
              <a:gd name="T1" fmla="*/ 232 h 671"/>
              <a:gd name="T2" fmla="*/ 220 w 693"/>
              <a:gd name="T3" fmla="*/ 0 h 671"/>
              <a:gd name="T4" fmla="*/ 0 w 693"/>
              <a:gd name="T5" fmla="*/ 329 h 671"/>
              <a:gd name="T6" fmla="*/ 693 w 693"/>
              <a:gd name="T7" fmla="*/ 671 h 671"/>
              <a:gd name="T8" fmla="*/ 693 w 693"/>
              <a:gd name="T9" fmla="*/ 232 h 671"/>
            </a:gdLst>
            <a:ahLst/>
            <a:cxnLst>
              <a:cxn ang="0">
                <a:pos x="T0" y="T1"/>
              </a:cxn>
              <a:cxn ang="0">
                <a:pos x="T2" y="T3"/>
              </a:cxn>
              <a:cxn ang="0">
                <a:pos x="T4" y="T5"/>
              </a:cxn>
              <a:cxn ang="0">
                <a:pos x="T6" y="T7"/>
              </a:cxn>
              <a:cxn ang="0">
                <a:pos x="T8" y="T9"/>
              </a:cxn>
            </a:cxnLst>
            <a:rect l="0" t="0" r="r" b="b"/>
            <a:pathLst>
              <a:path w="693" h="671">
                <a:moveTo>
                  <a:pt x="693" y="232"/>
                </a:moveTo>
                <a:lnTo>
                  <a:pt x="220" y="0"/>
                </a:lnTo>
                <a:lnTo>
                  <a:pt x="0" y="329"/>
                </a:lnTo>
                <a:lnTo>
                  <a:pt x="693" y="671"/>
                </a:lnTo>
                <a:lnTo>
                  <a:pt x="693" y="232"/>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dirty="0"/>
          </a:p>
        </p:txBody>
      </p:sp>
      <p:sp>
        <p:nvSpPr>
          <p:cNvPr id="67" name="Freeform 7">
            <a:extLst>
              <a:ext uri="{FF2B5EF4-FFF2-40B4-BE49-F238E27FC236}">
                <a16:creationId xmlns:a16="http://schemas.microsoft.com/office/drawing/2014/main" id="{91922E6F-ECA7-497B-9601-A002C5698F44}"/>
              </a:ext>
            </a:extLst>
          </p:cNvPr>
          <p:cNvSpPr>
            <a:spLocks/>
          </p:cNvSpPr>
          <p:nvPr/>
        </p:nvSpPr>
        <p:spPr bwMode="auto">
          <a:xfrm>
            <a:off x="4788699" y="2821422"/>
            <a:ext cx="1787155" cy="650620"/>
          </a:xfrm>
          <a:custGeom>
            <a:avLst/>
            <a:gdLst>
              <a:gd name="T0" fmla="*/ 0 w 473"/>
              <a:gd name="T1" fmla="*/ 97 h 215"/>
              <a:gd name="T2" fmla="*/ 236 w 473"/>
              <a:gd name="T3" fmla="*/ 0 h 215"/>
              <a:gd name="T4" fmla="*/ 473 w 473"/>
              <a:gd name="T5" fmla="*/ 97 h 215"/>
              <a:gd name="T6" fmla="*/ 236 w 473"/>
              <a:gd name="T7" fmla="*/ 215 h 215"/>
              <a:gd name="T8" fmla="*/ 0 w 473"/>
              <a:gd name="T9" fmla="*/ 97 h 215"/>
            </a:gdLst>
            <a:ahLst/>
            <a:cxnLst>
              <a:cxn ang="0">
                <a:pos x="T0" y="T1"/>
              </a:cxn>
              <a:cxn ang="0">
                <a:pos x="T2" y="T3"/>
              </a:cxn>
              <a:cxn ang="0">
                <a:pos x="T4" y="T5"/>
              </a:cxn>
              <a:cxn ang="0">
                <a:pos x="T6" y="T7"/>
              </a:cxn>
              <a:cxn ang="0">
                <a:pos x="T8" y="T9"/>
              </a:cxn>
            </a:cxnLst>
            <a:rect l="0" t="0" r="r" b="b"/>
            <a:pathLst>
              <a:path w="473" h="215">
                <a:moveTo>
                  <a:pt x="0" y="97"/>
                </a:moveTo>
                <a:lnTo>
                  <a:pt x="236" y="0"/>
                </a:lnTo>
                <a:lnTo>
                  <a:pt x="473" y="97"/>
                </a:lnTo>
                <a:lnTo>
                  <a:pt x="236" y="215"/>
                </a:lnTo>
                <a:lnTo>
                  <a:pt x="0" y="97"/>
                </a:lnTo>
                <a:close/>
              </a:path>
            </a:pathLst>
          </a:custGeom>
          <a:solidFill>
            <a:schemeClr val="accent2">
              <a:lumMod val="50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8" name="Freeform 8">
            <a:extLst>
              <a:ext uri="{FF2B5EF4-FFF2-40B4-BE49-F238E27FC236}">
                <a16:creationId xmlns:a16="http://schemas.microsoft.com/office/drawing/2014/main" id="{BB54A3A5-B830-4E1E-9AEF-7B4F13C461A2}"/>
              </a:ext>
            </a:extLst>
          </p:cNvPr>
          <p:cNvSpPr>
            <a:spLocks/>
          </p:cNvSpPr>
          <p:nvPr/>
        </p:nvSpPr>
        <p:spPr bwMode="auto">
          <a:xfrm>
            <a:off x="5680388" y="3110176"/>
            <a:ext cx="1726702" cy="1685559"/>
          </a:xfrm>
          <a:custGeom>
            <a:avLst/>
            <a:gdLst>
              <a:gd name="T0" fmla="*/ 0 w 457"/>
              <a:gd name="T1" fmla="*/ 557 h 557"/>
              <a:gd name="T2" fmla="*/ 457 w 457"/>
              <a:gd name="T3" fmla="*/ 333 h 557"/>
              <a:gd name="T4" fmla="*/ 237 w 457"/>
              <a:gd name="T5" fmla="*/ 0 h 557"/>
              <a:gd name="T6" fmla="*/ 0 w 457"/>
              <a:gd name="T7" fmla="*/ 118 h 557"/>
              <a:gd name="T8" fmla="*/ 0 w 457"/>
              <a:gd name="T9" fmla="*/ 557 h 557"/>
            </a:gdLst>
            <a:ahLst/>
            <a:cxnLst>
              <a:cxn ang="0">
                <a:pos x="T0" y="T1"/>
              </a:cxn>
              <a:cxn ang="0">
                <a:pos x="T2" y="T3"/>
              </a:cxn>
              <a:cxn ang="0">
                <a:pos x="T4" y="T5"/>
              </a:cxn>
              <a:cxn ang="0">
                <a:pos x="T6" y="T7"/>
              </a:cxn>
              <a:cxn ang="0">
                <a:pos x="T8" y="T9"/>
              </a:cxn>
            </a:cxnLst>
            <a:rect l="0" t="0" r="r" b="b"/>
            <a:pathLst>
              <a:path w="457" h="557">
                <a:moveTo>
                  <a:pt x="0" y="557"/>
                </a:moveTo>
                <a:lnTo>
                  <a:pt x="457" y="333"/>
                </a:lnTo>
                <a:lnTo>
                  <a:pt x="237" y="0"/>
                </a:lnTo>
                <a:lnTo>
                  <a:pt x="0" y="118"/>
                </a:lnTo>
                <a:lnTo>
                  <a:pt x="0" y="557"/>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9" name="Freeform 9">
            <a:extLst>
              <a:ext uri="{FF2B5EF4-FFF2-40B4-BE49-F238E27FC236}">
                <a16:creationId xmlns:a16="http://schemas.microsoft.com/office/drawing/2014/main" id="{919DDDB6-758F-43A4-8B25-9EAE2ECF6BF9}"/>
              </a:ext>
            </a:extLst>
          </p:cNvPr>
          <p:cNvSpPr>
            <a:spLocks/>
          </p:cNvSpPr>
          <p:nvPr/>
        </p:nvSpPr>
        <p:spPr bwMode="auto">
          <a:xfrm>
            <a:off x="3957464" y="3114957"/>
            <a:ext cx="1722924" cy="1685559"/>
          </a:xfrm>
          <a:custGeom>
            <a:avLst/>
            <a:gdLst>
              <a:gd name="T0" fmla="*/ 456 w 456"/>
              <a:gd name="T1" fmla="*/ 118 h 557"/>
              <a:gd name="T2" fmla="*/ 220 w 456"/>
              <a:gd name="T3" fmla="*/ 0 h 557"/>
              <a:gd name="T4" fmla="*/ 0 w 456"/>
              <a:gd name="T5" fmla="*/ 333 h 557"/>
              <a:gd name="T6" fmla="*/ 456 w 456"/>
              <a:gd name="T7" fmla="*/ 557 h 557"/>
              <a:gd name="T8" fmla="*/ 456 w 456"/>
              <a:gd name="T9" fmla="*/ 118 h 557"/>
            </a:gdLst>
            <a:ahLst/>
            <a:cxnLst>
              <a:cxn ang="0">
                <a:pos x="T0" y="T1"/>
              </a:cxn>
              <a:cxn ang="0">
                <a:pos x="T2" y="T3"/>
              </a:cxn>
              <a:cxn ang="0">
                <a:pos x="T4" y="T5"/>
              </a:cxn>
              <a:cxn ang="0">
                <a:pos x="T6" y="T7"/>
              </a:cxn>
              <a:cxn ang="0">
                <a:pos x="T8" y="T9"/>
              </a:cxn>
            </a:cxnLst>
            <a:rect l="0" t="0" r="r" b="b"/>
            <a:pathLst>
              <a:path w="456" h="557">
                <a:moveTo>
                  <a:pt x="456" y="118"/>
                </a:moveTo>
                <a:lnTo>
                  <a:pt x="220" y="0"/>
                </a:lnTo>
                <a:lnTo>
                  <a:pt x="0" y="333"/>
                </a:lnTo>
                <a:lnTo>
                  <a:pt x="456" y="557"/>
                </a:lnTo>
                <a:lnTo>
                  <a:pt x="456" y="118"/>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0" name="Freeform 11">
            <a:extLst>
              <a:ext uri="{FF2B5EF4-FFF2-40B4-BE49-F238E27FC236}">
                <a16:creationId xmlns:a16="http://schemas.microsoft.com/office/drawing/2014/main" id="{CA3101F4-3307-42EC-9E83-311BE8853FC4}"/>
              </a:ext>
            </a:extLst>
          </p:cNvPr>
          <p:cNvSpPr>
            <a:spLocks/>
          </p:cNvSpPr>
          <p:nvPr/>
        </p:nvSpPr>
        <p:spPr bwMode="auto">
          <a:xfrm>
            <a:off x="5680388" y="1802844"/>
            <a:ext cx="831236" cy="1340579"/>
          </a:xfrm>
          <a:custGeom>
            <a:avLst/>
            <a:gdLst>
              <a:gd name="T0" fmla="*/ 0 w 220"/>
              <a:gd name="T1" fmla="*/ 443 h 443"/>
              <a:gd name="T2" fmla="*/ 220 w 220"/>
              <a:gd name="T3" fmla="*/ 333 h 443"/>
              <a:gd name="T4" fmla="*/ 0 w 220"/>
              <a:gd name="T5" fmla="*/ 0 h 443"/>
              <a:gd name="T6" fmla="*/ 0 w 220"/>
              <a:gd name="T7" fmla="*/ 4 h 443"/>
              <a:gd name="T8" fmla="*/ 0 w 220"/>
              <a:gd name="T9" fmla="*/ 443 h 443"/>
            </a:gdLst>
            <a:ahLst/>
            <a:cxnLst>
              <a:cxn ang="0">
                <a:pos x="T0" y="T1"/>
              </a:cxn>
              <a:cxn ang="0">
                <a:pos x="T2" y="T3"/>
              </a:cxn>
              <a:cxn ang="0">
                <a:pos x="T4" y="T5"/>
              </a:cxn>
              <a:cxn ang="0">
                <a:pos x="T6" y="T7"/>
              </a:cxn>
              <a:cxn ang="0">
                <a:pos x="T8" y="T9"/>
              </a:cxn>
            </a:cxnLst>
            <a:rect l="0" t="0" r="r" b="b"/>
            <a:pathLst>
              <a:path w="220" h="443">
                <a:moveTo>
                  <a:pt x="0" y="443"/>
                </a:moveTo>
                <a:lnTo>
                  <a:pt x="220" y="333"/>
                </a:lnTo>
                <a:lnTo>
                  <a:pt x="0" y="0"/>
                </a:lnTo>
                <a:lnTo>
                  <a:pt x="0" y="4"/>
                </a:lnTo>
                <a:lnTo>
                  <a:pt x="0" y="443"/>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1" name="Freeform 12">
            <a:extLst>
              <a:ext uri="{FF2B5EF4-FFF2-40B4-BE49-F238E27FC236}">
                <a16:creationId xmlns:a16="http://schemas.microsoft.com/office/drawing/2014/main" id="{89624BB8-DC11-48DF-9098-48F1A3768F6F}"/>
              </a:ext>
            </a:extLst>
          </p:cNvPr>
          <p:cNvSpPr>
            <a:spLocks/>
          </p:cNvSpPr>
          <p:nvPr/>
        </p:nvSpPr>
        <p:spPr bwMode="auto">
          <a:xfrm>
            <a:off x="4852933" y="1802844"/>
            <a:ext cx="827456" cy="1340579"/>
          </a:xfrm>
          <a:custGeom>
            <a:avLst/>
            <a:gdLst>
              <a:gd name="T0" fmla="*/ 219 w 219"/>
              <a:gd name="T1" fmla="*/ 4 h 443"/>
              <a:gd name="T2" fmla="*/ 219 w 219"/>
              <a:gd name="T3" fmla="*/ 0 h 443"/>
              <a:gd name="T4" fmla="*/ 0 w 219"/>
              <a:gd name="T5" fmla="*/ 333 h 443"/>
              <a:gd name="T6" fmla="*/ 219 w 219"/>
              <a:gd name="T7" fmla="*/ 443 h 443"/>
              <a:gd name="T8" fmla="*/ 219 w 219"/>
              <a:gd name="T9" fmla="*/ 4 h 443"/>
            </a:gdLst>
            <a:ahLst/>
            <a:cxnLst>
              <a:cxn ang="0">
                <a:pos x="T0" y="T1"/>
              </a:cxn>
              <a:cxn ang="0">
                <a:pos x="T2" y="T3"/>
              </a:cxn>
              <a:cxn ang="0">
                <a:pos x="T4" y="T5"/>
              </a:cxn>
              <a:cxn ang="0">
                <a:pos x="T6" y="T7"/>
              </a:cxn>
              <a:cxn ang="0">
                <a:pos x="T8" y="T9"/>
              </a:cxn>
            </a:cxnLst>
            <a:rect l="0" t="0" r="r" b="b"/>
            <a:pathLst>
              <a:path w="219" h="443">
                <a:moveTo>
                  <a:pt x="219" y="4"/>
                </a:moveTo>
                <a:lnTo>
                  <a:pt x="219" y="0"/>
                </a:lnTo>
                <a:lnTo>
                  <a:pt x="0" y="333"/>
                </a:lnTo>
                <a:lnTo>
                  <a:pt x="219" y="443"/>
                </a:lnTo>
                <a:lnTo>
                  <a:pt x="219" y="4"/>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5" name="TextBox 74">
            <a:extLst>
              <a:ext uri="{FF2B5EF4-FFF2-40B4-BE49-F238E27FC236}">
                <a16:creationId xmlns:a16="http://schemas.microsoft.com/office/drawing/2014/main" id="{2B22C1A8-0E32-44A9-87B1-77BF75540252}"/>
              </a:ext>
            </a:extLst>
          </p:cNvPr>
          <p:cNvSpPr txBox="1"/>
          <p:nvPr/>
        </p:nvSpPr>
        <p:spPr>
          <a:xfrm>
            <a:off x="7107429" y="1989511"/>
            <a:ext cx="1667444"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Strategic Risks</a:t>
            </a:r>
          </a:p>
          <a:p>
            <a:r>
              <a:rPr lang="en-US" sz="1600">
                <a:solidFill>
                  <a:schemeClr val="bg1"/>
                </a:solidFill>
                <a:latin typeface="Arial (Body)"/>
                <a:ea typeface="League Spartan" charset="0"/>
                <a:cs typeface="Poppins" pitchFamily="2" charset="77"/>
              </a:rPr>
              <a:t>Long term</a:t>
            </a:r>
            <a:endParaRPr lang="en-US" sz="1600" dirty="0">
              <a:solidFill>
                <a:schemeClr val="bg1"/>
              </a:solidFill>
              <a:latin typeface="Arial (Body)"/>
              <a:ea typeface="League Spartan" charset="0"/>
              <a:cs typeface="Poppins" pitchFamily="2" charset="77"/>
            </a:endParaRPr>
          </a:p>
        </p:txBody>
      </p:sp>
      <p:sp>
        <p:nvSpPr>
          <p:cNvPr id="17" name="TextBox 16">
            <a:extLst>
              <a:ext uri="{FF2B5EF4-FFF2-40B4-BE49-F238E27FC236}">
                <a16:creationId xmlns:a16="http://schemas.microsoft.com/office/drawing/2014/main" id="{69A952A6-B724-4A16-B469-FC2404984233}"/>
              </a:ext>
            </a:extLst>
          </p:cNvPr>
          <p:cNvSpPr txBox="1"/>
          <p:nvPr/>
        </p:nvSpPr>
        <p:spPr>
          <a:xfrm>
            <a:off x="8895461" y="4710962"/>
            <a:ext cx="1930337"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Operational Risks</a:t>
            </a:r>
          </a:p>
          <a:p>
            <a:r>
              <a:rPr lang="en-US" sz="1600" dirty="0">
                <a:solidFill>
                  <a:schemeClr val="bg1"/>
                </a:solidFill>
                <a:latin typeface="Arial (Body)"/>
                <a:ea typeface="League Spartan" charset="0"/>
                <a:cs typeface="Poppins" pitchFamily="2" charset="77"/>
              </a:rPr>
              <a:t>Short Term</a:t>
            </a:r>
          </a:p>
        </p:txBody>
      </p:sp>
      <p:sp>
        <p:nvSpPr>
          <p:cNvPr id="18" name="TextBox 17">
            <a:extLst>
              <a:ext uri="{FF2B5EF4-FFF2-40B4-BE49-F238E27FC236}">
                <a16:creationId xmlns:a16="http://schemas.microsoft.com/office/drawing/2014/main" id="{CBAC2C23-64A7-41EA-9EC2-3B2DD113A06E}"/>
              </a:ext>
            </a:extLst>
          </p:cNvPr>
          <p:cNvSpPr txBox="1"/>
          <p:nvPr/>
        </p:nvSpPr>
        <p:spPr>
          <a:xfrm>
            <a:off x="2063145" y="3300378"/>
            <a:ext cx="1484702"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Project Risks</a:t>
            </a:r>
          </a:p>
          <a:p>
            <a:r>
              <a:rPr lang="en-US" sz="1600" dirty="0">
                <a:solidFill>
                  <a:schemeClr val="bg1"/>
                </a:solidFill>
                <a:latin typeface="Arial (Body)"/>
                <a:ea typeface="League Spartan" charset="0"/>
                <a:cs typeface="Poppins" pitchFamily="2" charset="77"/>
              </a:rPr>
              <a:t>Medium term</a:t>
            </a:r>
          </a:p>
        </p:txBody>
      </p:sp>
      <p:pic>
        <p:nvPicPr>
          <p:cNvPr id="19" name="Graphic 18" descr="Lightbulb and gear">
            <a:extLst>
              <a:ext uri="{FF2B5EF4-FFF2-40B4-BE49-F238E27FC236}">
                <a16:creationId xmlns:a16="http://schemas.microsoft.com/office/drawing/2014/main" id="{5A895BDE-C2BA-4D23-AD5D-C284719416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5451" y="2003478"/>
            <a:ext cx="540581" cy="540580"/>
          </a:xfrm>
          <a:prstGeom prst="rect">
            <a:avLst/>
          </a:prstGeom>
        </p:spPr>
      </p:pic>
      <p:grpSp>
        <p:nvGrpSpPr>
          <p:cNvPr id="20" name="Group 19">
            <a:extLst>
              <a:ext uri="{FF2B5EF4-FFF2-40B4-BE49-F238E27FC236}">
                <a16:creationId xmlns:a16="http://schemas.microsoft.com/office/drawing/2014/main" id="{EFC27684-24DD-4EF7-A811-23603155ACDC}"/>
              </a:ext>
            </a:extLst>
          </p:cNvPr>
          <p:cNvGrpSpPr/>
          <p:nvPr/>
        </p:nvGrpSpPr>
        <p:grpSpPr>
          <a:xfrm>
            <a:off x="8421234" y="4750839"/>
            <a:ext cx="456708" cy="483127"/>
            <a:chOff x="2751134" y="1557423"/>
            <a:chExt cx="3505191" cy="3707958"/>
          </a:xfrm>
          <a:solidFill>
            <a:schemeClr val="bg1"/>
          </a:solidFill>
        </p:grpSpPr>
        <p:sp>
          <p:nvSpPr>
            <p:cNvPr id="21" name="Shape 20">
              <a:extLst>
                <a:ext uri="{FF2B5EF4-FFF2-40B4-BE49-F238E27FC236}">
                  <a16:creationId xmlns:a16="http://schemas.microsoft.com/office/drawing/2014/main" id="{94EE6C46-A7EC-4A98-BD0C-2B35608CC4AE}"/>
                </a:ext>
              </a:extLst>
            </p:cNvPr>
            <p:cNvSpPr/>
            <p:nvPr/>
          </p:nvSpPr>
          <p:spPr bwMode="auto">
            <a:xfrm>
              <a:off x="4021125" y="3030181"/>
              <a:ext cx="2235200" cy="22352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2" name="Shape 21">
              <a:extLst>
                <a:ext uri="{FF2B5EF4-FFF2-40B4-BE49-F238E27FC236}">
                  <a16:creationId xmlns:a16="http://schemas.microsoft.com/office/drawing/2014/main" id="{39B27148-455A-4033-9FD6-CB561E816339}"/>
                </a:ext>
              </a:extLst>
            </p:cNvPr>
            <p:cNvSpPr/>
            <p:nvPr/>
          </p:nvSpPr>
          <p:spPr bwMode="auto">
            <a:xfrm>
              <a:off x="2751134" y="3151264"/>
              <a:ext cx="1320800" cy="13208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18177024-FA35-415C-A5FE-53117D31B50B}"/>
                </a:ext>
              </a:extLst>
            </p:cNvPr>
            <p:cNvSpPr/>
            <p:nvPr/>
          </p:nvSpPr>
          <p:spPr bwMode="auto">
            <a:xfrm>
              <a:off x="3748086" y="1557423"/>
              <a:ext cx="1657352" cy="1657352"/>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3" name="Graphic 2" descr="Meeting with solid fill">
            <a:extLst>
              <a:ext uri="{FF2B5EF4-FFF2-40B4-BE49-F238E27FC236}">
                <a16:creationId xmlns:a16="http://schemas.microsoft.com/office/drawing/2014/main" id="{A7D7D1CE-9D0B-4038-B672-3E626C00AF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3760" y="3239897"/>
            <a:ext cx="668116" cy="668116"/>
          </a:xfrm>
          <a:prstGeom prst="rect">
            <a:avLst/>
          </a:prstGeom>
        </p:spPr>
      </p:pic>
    </p:spTree>
    <p:extLst>
      <p:ext uri="{BB962C8B-B14F-4D97-AF65-F5344CB8AC3E}">
        <p14:creationId xmlns:p14="http://schemas.microsoft.com/office/powerpoint/2010/main" val="280358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pproach</a:t>
            </a:r>
            <a:br>
              <a:rPr lang="en-US" sz="2400" dirty="0"/>
            </a:br>
            <a:r>
              <a:rPr lang="en-US" sz="1800" b="0" dirty="0"/>
              <a:t>Our </a:t>
            </a:r>
            <a:r>
              <a:rPr lang="en-GB" sz="1800" b="0" dirty="0"/>
              <a:t>Risk Management Toolkit includes a simple 7-phase approach, which can be used to manage the </a:t>
            </a:r>
            <a:r>
              <a:rPr lang="en-GB" sz="1800" b="0"/>
              <a:t>risks and issues </a:t>
            </a:r>
            <a:r>
              <a:rPr lang="en-GB" sz="1800" b="0" dirty="0"/>
              <a:t>of a company or a projec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2" name="Chevron 10">
            <a:extLst>
              <a:ext uri="{FF2B5EF4-FFF2-40B4-BE49-F238E27FC236}">
                <a16:creationId xmlns:a16="http://schemas.microsoft.com/office/drawing/2014/main" id="{AE848D4C-499A-4E3C-8023-2C1815717D50}"/>
              </a:ext>
            </a:extLst>
          </p:cNvPr>
          <p:cNvSpPr/>
          <p:nvPr/>
        </p:nvSpPr>
        <p:spPr bwMode="auto">
          <a:xfrm>
            <a:off x="3628831"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a:t>
            </a:r>
            <a:r>
              <a:rPr lang="en-US" sz="1200" b="1" dirty="0">
                <a:solidFill>
                  <a:schemeClr val="bg1"/>
                </a:solidFill>
                <a:cs typeface="Times New Roman" pitchFamily="18" charset="0"/>
              </a:rPr>
              <a:t>.Risk Assessment</a:t>
            </a:r>
          </a:p>
        </p:txBody>
      </p:sp>
      <p:sp>
        <p:nvSpPr>
          <p:cNvPr id="23" name="Chevron 12">
            <a:extLst>
              <a:ext uri="{FF2B5EF4-FFF2-40B4-BE49-F238E27FC236}">
                <a16:creationId xmlns:a16="http://schemas.microsoft.com/office/drawing/2014/main" id="{6BD1C429-41B0-4D68-AA99-D012E215905D}"/>
              </a:ext>
            </a:extLst>
          </p:cNvPr>
          <p:cNvSpPr/>
          <p:nvPr/>
        </p:nvSpPr>
        <p:spPr bwMode="auto">
          <a:xfrm>
            <a:off x="5227989"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4" name="Chevron 14">
            <a:extLst>
              <a:ext uri="{FF2B5EF4-FFF2-40B4-BE49-F238E27FC236}">
                <a16:creationId xmlns:a16="http://schemas.microsoft.com/office/drawing/2014/main" id="{98F24423-B40E-4081-ABF4-4FE91957CA82}"/>
              </a:ext>
            </a:extLst>
          </p:cNvPr>
          <p:cNvSpPr/>
          <p:nvPr/>
        </p:nvSpPr>
        <p:spPr bwMode="auto">
          <a:xfrm>
            <a:off x="6827146"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5" name="Chevron 167">
            <a:extLst>
              <a:ext uri="{FF2B5EF4-FFF2-40B4-BE49-F238E27FC236}">
                <a16:creationId xmlns:a16="http://schemas.microsoft.com/office/drawing/2014/main" id="{006708C9-4BB7-4714-8F45-59AC4894470A}"/>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26" name="Graphic 25" descr="Magnifying glass">
            <a:extLst>
              <a:ext uri="{FF2B5EF4-FFF2-40B4-BE49-F238E27FC236}">
                <a16:creationId xmlns:a16="http://schemas.microsoft.com/office/drawing/2014/main" id="{480F622F-3F6B-4046-99C1-CE0A35AD8D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7" name="Chevron 14">
            <a:extLst>
              <a:ext uri="{FF2B5EF4-FFF2-40B4-BE49-F238E27FC236}">
                <a16:creationId xmlns:a16="http://schemas.microsoft.com/office/drawing/2014/main" id="{AFC51878-350E-4BE2-B826-72EF80F67541}"/>
              </a:ext>
            </a:extLst>
          </p:cNvPr>
          <p:cNvSpPr/>
          <p:nvPr/>
        </p:nvSpPr>
        <p:spPr bwMode="auto">
          <a:xfrm>
            <a:off x="8426303"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8" name="Graphic 27" descr="Priorities">
            <a:extLst>
              <a:ext uri="{FF2B5EF4-FFF2-40B4-BE49-F238E27FC236}">
                <a16:creationId xmlns:a16="http://schemas.microsoft.com/office/drawing/2014/main" id="{ED4600C4-B1B8-4C97-88D8-CE6BCE076C1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9" name="Graphic 28" descr="Clipboard">
            <a:extLst>
              <a:ext uri="{FF2B5EF4-FFF2-40B4-BE49-F238E27FC236}">
                <a16:creationId xmlns:a16="http://schemas.microsoft.com/office/drawing/2014/main" id="{A55ADD63-6C5E-46D8-A005-BB171170D3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30" name="Graphic 29" descr="Shield Tick">
            <a:extLst>
              <a:ext uri="{FF2B5EF4-FFF2-40B4-BE49-F238E27FC236}">
                <a16:creationId xmlns:a16="http://schemas.microsoft.com/office/drawing/2014/main" id="{8F331786-3E4F-48E9-BA99-73CEEFB58E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31" name="Graphic 30" descr="Inbox Check">
            <a:extLst>
              <a:ext uri="{FF2B5EF4-FFF2-40B4-BE49-F238E27FC236}">
                <a16:creationId xmlns:a16="http://schemas.microsoft.com/office/drawing/2014/main" id="{1C1D6076-F188-4DC6-BECE-17F9B524B86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2" name="Chevron 14">
            <a:extLst>
              <a:ext uri="{FF2B5EF4-FFF2-40B4-BE49-F238E27FC236}">
                <a16:creationId xmlns:a16="http://schemas.microsoft.com/office/drawing/2014/main" id="{A82F6AC4-371D-4380-8CC9-B0F4B7EAD285}"/>
              </a:ext>
            </a:extLst>
          </p:cNvPr>
          <p:cNvSpPr/>
          <p:nvPr/>
        </p:nvSpPr>
        <p:spPr bwMode="auto">
          <a:xfrm>
            <a:off x="10025460"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3" name="Graphic 32" descr="Hurdle with solid fill">
            <a:extLst>
              <a:ext uri="{FF2B5EF4-FFF2-40B4-BE49-F238E27FC236}">
                <a16:creationId xmlns:a16="http://schemas.microsoft.com/office/drawing/2014/main" id="{6430DE0B-77E7-4283-B0FE-286845D5273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4" name="Chevron 167">
            <a:extLst>
              <a:ext uri="{FF2B5EF4-FFF2-40B4-BE49-F238E27FC236}">
                <a16:creationId xmlns:a16="http://schemas.microsoft.com/office/drawing/2014/main" id="{08F25008-D600-4B9E-8519-5DFA5514D018}"/>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5" name="Graphic 34" descr="Lightbulb with solid fill">
            <a:extLst>
              <a:ext uri="{FF2B5EF4-FFF2-40B4-BE49-F238E27FC236}">
                <a16:creationId xmlns:a16="http://schemas.microsoft.com/office/drawing/2014/main" id="{8DCA95C6-903E-454C-AEBD-792A1AE987B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6" name="Rectangle 35">
            <a:extLst>
              <a:ext uri="{FF2B5EF4-FFF2-40B4-BE49-F238E27FC236}">
                <a16:creationId xmlns:a16="http://schemas.microsoft.com/office/drawing/2014/main" id="{188F7C6F-5B55-4442-B566-FD31B54D3AB7}"/>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37" name="Straight Connector 36">
            <a:extLst>
              <a:ext uri="{FF2B5EF4-FFF2-40B4-BE49-F238E27FC236}">
                <a16:creationId xmlns:a16="http://schemas.microsoft.com/office/drawing/2014/main" id="{E4418AF7-9832-431F-A7EA-673E6A20EFA8}"/>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79B2B9CD-4ED7-4514-9BEA-91F8C4BB12D4}"/>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isk types and examples </a:t>
            </a:r>
          </a:p>
          <a:p>
            <a:pPr marL="169863" indent="-169863">
              <a:spcBef>
                <a:spcPts val="400"/>
              </a:spcBef>
              <a:spcAft>
                <a:spcPts val="400"/>
              </a:spcAft>
              <a:buFont typeface="+mj-lt"/>
              <a:buAutoNum type="arabicPeriod"/>
            </a:pPr>
            <a:r>
              <a:rPr lang="en-GB" sz="1050" dirty="0">
                <a:solidFill>
                  <a:srgbClr val="002776"/>
                </a:solidFill>
              </a:rPr>
              <a:t>Tools to identify risks </a:t>
            </a:r>
          </a:p>
          <a:p>
            <a:pPr marL="169863" indent="-169863">
              <a:spcBef>
                <a:spcPts val="400"/>
              </a:spcBef>
              <a:spcAft>
                <a:spcPts val="400"/>
              </a:spcAft>
              <a:buFont typeface="+mj-lt"/>
              <a:buAutoNum type="arabicPeriod"/>
            </a:pPr>
            <a:r>
              <a:rPr lang="en-GB" sz="1050" dirty="0">
                <a:solidFill>
                  <a:srgbClr val="002776"/>
                </a:solidFill>
              </a:rPr>
              <a:t>Simple risk log in Powerpoint</a:t>
            </a:r>
          </a:p>
          <a:p>
            <a:pPr marL="169863" indent="-169863">
              <a:spcBef>
                <a:spcPts val="400"/>
              </a:spcBef>
              <a:spcAft>
                <a:spcPts val="400"/>
              </a:spcAft>
              <a:buFont typeface="+mj-lt"/>
              <a:buAutoNum type="arabicPeriod"/>
            </a:pPr>
            <a:r>
              <a:rPr lang="en-GB" sz="1050" dirty="0">
                <a:solidFill>
                  <a:srgbClr val="002776"/>
                </a:solidFill>
              </a:rPr>
              <a:t>Comprehensive risk log in Excel</a:t>
            </a:r>
          </a:p>
          <a:p>
            <a:pPr marL="169863" indent="-169863">
              <a:spcBef>
                <a:spcPts val="200"/>
              </a:spcBef>
              <a:spcAft>
                <a:spcPts val="200"/>
              </a:spcAft>
              <a:buFont typeface="+mj-lt"/>
              <a:buAutoNum type="arabicPeriod"/>
            </a:pPr>
            <a:endParaRPr lang="en-GB" sz="1050" dirty="0">
              <a:solidFill>
                <a:srgbClr val="002776"/>
              </a:solidFill>
            </a:endParaRPr>
          </a:p>
        </p:txBody>
      </p:sp>
      <p:cxnSp>
        <p:nvCxnSpPr>
          <p:cNvPr id="39" name="Straight Connector 38">
            <a:extLst>
              <a:ext uri="{FF2B5EF4-FFF2-40B4-BE49-F238E27FC236}">
                <a16:creationId xmlns:a16="http://schemas.microsoft.com/office/drawing/2014/main" id="{F2825B2A-E66A-4474-879C-22F668F8B872}"/>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29812F4-E566-4737-A379-37BB231A4493}"/>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Probability of the </a:t>
            </a:r>
            <a:r>
              <a:rPr lang="en-GB" sz="1050">
                <a:solidFill>
                  <a:srgbClr val="002776"/>
                </a:solidFill>
              </a:rPr>
              <a:t>risk happening</a:t>
            </a:r>
            <a:endParaRPr lang="en-GB" sz="1050" dirty="0">
              <a:solidFill>
                <a:srgbClr val="002776"/>
              </a:solidFill>
            </a:endParaRPr>
          </a:p>
          <a:p>
            <a:pPr marL="169863" indent="-169863">
              <a:spcBef>
                <a:spcPts val="400"/>
              </a:spcBef>
              <a:spcAft>
                <a:spcPts val="400"/>
              </a:spcAft>
              <a:buFont typeface="+mj-lt"/>
              <a:buAutoNum type="arabicPeriod"/>
            </a:pPr>
            <a:r>
              <a:rPr lang="en-GB" sz="1050" dirty="0">
                <a:solidFill>
                  <a:srgbClr val="002776"/>
                </a:solidFill>
              </a:rPr>
              <a:t>Potential impact of the risk</a:t>
            </a:r>
          </a:p>
          <a:p>
            <a:pPr marL="169863" indent="-169863">
              <a:spcBef>
                <a:spcPts val="400"/>
              </a:spcBef>
              <a:spcAft>
                <a:spcPts val="400"/>
              </a:spcAft>
              <a:buFont typeface="+mj-lt"/>
              <a:buAutoNum type="arabicPeriod"/>
            </a:pPr>
            <a:r>
              <a:rPr lang="en-GB" sz="1050" dirty="0">
                <a:solidFill>
                  <a:srgbClr val="002776"/>
                </a:solidFill>
              </a:rPr>
              <a:t>Risk value </a:t>
            </a:r>
          </a:p>
          <a:p>
            <a:pPr marL="169863" indent="-169863">
              <a:spcBef>
                <a:spcPts val="400"/>
              </a:spcBef>
              <a:spcAft>
                <a:spcPts val="400"/>
              </a:spcAft>
              <a:buFont typeface="+mj-lt"/>
              <a:buAutoNum type="arabicPeriod"/>
            </a:pPr>
            <a:endParaRPr lang="en-GB" sz="1050" dirty="0">
              <a:solidFill>
                <a:srgbClr val="002776"/>
              </a:solidFill>
            </a:endParaRPr>
          </a:p>
        </p:txBody>
      </p:sp>
      <p:cxnSp>
        <p:nvCxnSpPr>
          <p:cNvPr id="41" name="Straight Connector 40">
            <a:extLst>
              <a:ext uri="{FF2B5EF4-FFF2-40B4-BE49-F238E27FC236}">
                <a16:creationId xmlns:a16="http://schemas.microsoft.com/office/drawing/2014/main" id="{E7C548D5-5700-4B80-9648-0700EFFA1F66}"/>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D041C58-43B2-4732-88CF-3DCD3D0FAC6F}"/>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rgbClr val="002776"/>
                </a:solidFill>
              </a:rPr>
              <a:t>3-by-3 risk </a:t>
            </a:r>
            <a:r>
              <a:rPr lang="en-GB" sz="1050" dirty="0">
                <a:solidFill>
                  <a:srgbClr val="002776"/>
                </a:solidFill>
              </a:rPr>
              <a:t>prioritization matrix </a:t>
            </a:r>
            <a:r>
              <a:rPr lang="en-GB" sz="1050">
                <a:solidFill>
                  <a:srgbClr val="002776"/>
                </a:solidFill>
              </a:rPr>
              <a:t>in PowerPoint and </a:t>
            </a:r>
            <a:r>
              <a:rPr lang="en-GB" sz="1050" dirty="0">
                <a:solidFill>
                  <a:srgbClr val="002776"/>
                </a:solidFill>
              </a:rPr>
              <a:t>Excel</a:t>
            </a:r>
          </a:p>
          <a:p>
            <a:pPr marL="169863" indent="-169863">
              <a:spcBef>
                <a:spcPts val="400"/>
              </a:spcBef>
              <a:spcAft>
                <a:spcPts val="400"/>
              </a:spcAft>
              <a:buFont typeface="+mj-lt"/>
              <a:buAutoNum type="arabicPeriod"/>
            </a:pPr>
            <a:r>
              <a:rPr lang="en-GB" sz="1050">
                <a:solidFill>
                  <a:srgbClr val="002776"/>
                </a:solidFill>
              </a:rPr>
              <a:t>5-by-5 risk </a:t>
            </a:r>
            <a:r>
              <a:rPr lang="en-GB" sz="1050" dirty="0">
                <a:solidFill>
                  <a:srgbClr val="002776"/>
                </a:solidFill>
              </a:rPr>
              <a:t>prioritization matrix </a:t>
            </a:r>
            <a:r>
              <a:rPr lang="en-GB" sz="1050">
                <a:solidFill>
                  <a:srgbClr val="002776"/>
                </a:solidFill>
              </a:rPr>
              <a:t>in PowerPoint and </a:t>
            </a:r>
            <a:r>
              <a:rPr lang="en-GB" sz="1050" dirty="0">
                <a:solidFill>
                  <a:srgbClr val="002776"/>
                </a:solidFill>
              </a:rPr>
              <a:t>Excel</a:t>
            </a:r>
          </a:p>
        </p:txBody>
      </p:sp>
      <p:cxnSp>
        <p:nvCxnSpPr>
          <p:cNvPr id="43" name="Straight Connector 42">
            <a:extLst>
              <a:ext uri="{FF2B5EF4-FFF2-40B4-BE49-F238E27FC236}">
                <a16:creationId xmlns:a16="http://schemas.microsoft.com/office/drawing/2014/main" id="{1E73A29A-5120-4B04-84FC-100169DF83A4}"/>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475318D-13A7-4B22-9F4C-7693A6702C38}"/>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esponse options</a:t>
            </a:r>
          </a:p>
          <a:p>
            <a:pPr marL="169863" indent="-169863">
              <a:spcBef>
                <a:spcPts val="400"/>
              </a:spcBef>
              <a:spcAft>
                <a:spcPts val="400"/>
              </a:spcAft>
              <a:buFont typeface="+mj-lt"/>
              <a:buAutoNum type="arabicPeriod"/>
            </a:pPr>
            <a:r>
              <a:rPr lang="en-GB" sz="1050" dirty="0">
                <a:solidFill>
                  <a:srgbClr val="002776"/>
                </a:solidFill>
              </a:rPr>
              <a:t>Examples </a:t>
            </a:r>
          </a:p>
          <a:p>
            <a:pPr marL="169863" indent="-169863">
              <a:spcBef>
                <a:spcPts val="400"/>
              </a:spcBef>
              <a:spcAft>
                <a:spcPts val="400"/>
              </a:spcAft>
              <a:buFont typeface="+mj-lt"/>
              <a:buAutoNum type="arabicPeriod"/>
            </a:pPr>
            <a:r>
              <a:rPr lang="en-GB" sz="1050" dirty="0">
                <a:solidFill>
                  <a:srgbClr val="002776"/>
                </a:solidFill>
              </a:rPr>
              <a:t>Actions</a:t>
            </a:r>
            <a:r>
              <a:rPr lang="en-GB" sz="1050">
                <a:solidFill>
                  <a:srgbClr val="002776"/>
                </a:solidFill>
              </a:rPr>
              <a:t>, deadlines</a:t>
            </a:r>
            <a:r>
              <a:rPr lang="en-GB" sz="1050" dirty="0">
                <a:solidFill>
                  <a:srgbClr val="002776"/>
                </a:solidFill>
              </a:rPr>
              <a:t>,</a:t>
            </a:r>
            <a:r>
              <a:rPr lang="en-GB" sz="1050">
                <a:solidFill>
                  <a:srgbClr val="002776"/>
                </a:solidFill>
              </a:rPr>
              <a:t>  </a:t>
            </a:r>
            <a:r>
              <a:rPr lang="en-GB" sz="1050" dirty="0">
                <a:solidFill>
                  <a:srgbClr val="002776"/>
                </a:solidFill>
              </a:rPr>
              <a:t>and responsibilities</a:t>
            </a:r>
          </a:p>
          <a:p>
            <a:pPr marL="169863" indent="-169863">
              <a:spcBef>
                <a:spcPts val="400"/>
              </a:spcBef>
              <a:spcAft>
                <a:spcPts val="400"/>
              </a:spcAft>
              <a:buFont typeface="+mj-lt"/>
              <a:buAutoNum type="arabicPeriod"/>
            </a:pPr>
            <a:r>
              <a:rPr lang="en-GB" sz="1050" dirty="0">
                <a:solidFill>
                  <a:srgbClr val="002776"/>
                </a:solidFill>
              </a:rPr>
              <a:t>Dashboard</a:t>
            </a:r>
          </a:p>
        </p:txBody>
      </p:sp>
      <p:cxnSp>
        <p:nvCxnSpPr>
          <p:cNvPr id="45" name="Straight Connector 44">
            <a:extLst>
              <a:ext uri="{FF2B5EF4-FFF2-40B4-BE49-F238E27FC236}">
                <a16:creationId xmlns:a16="http://schemas.microsoft.com/office/drawing/2014/main" id="{CA1A1706-3119-4C9B-A2FE-8BB0621CF0FF}"/>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F6973A-4C5A-4779-B850-1C6D63EAC1B7}"/>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isk closure</a:t>
            </a:r>
          </a:p>
          <a:p>
            <a:pPr marL="169863" indent="-169863">
              <a:spcBef>
                <a:spcPts val="400"/>
              </a:spcBef>
              <a:spcAft>
                <a:spcPts val="400"/>
              </a:spcAft>
              <a:buFont typeface="+mj-lt"/>
              <a:buAutoNum type="arabicPeriod"/>
            </a:pPr>
            <a:r>
              <a:rPr lang="en-GB" sz="1050" dirty="0">
                <a:solidFill>
                  <a:srgbClr val="002776"/>
                </a:solidFill>
              </a:rPr>
              <a:t>Issue escalation</a:t>
            </a:r>
          </a:p>
        </p:txBody>
      </p:sp>
      <p:cxnSp>
        <p:nvCxnSpPr>
          <p:cNvPr id="47" name="Straight Connector 46">
            <a:extLst>
              <a:ext uri="{FF2B5EF4-FFF2-40B4-BE49-F238E27FC236}">
                <a16:creationId xmlns:a16="http://schemas.microsoft.com/office/drawing/2014/main" id="{27AD92F2-C43F-4DFA-941C-F22828F0E998}"/>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506E85F-A3A4-4FC0-AD5A-3C2EFDF2C738}"/>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Simple issue log </a:t>
            </a:r>
            <a:r>
              <a:rPr lang="en-GB" sz="1050">
                <a:solidFill>
                  <a:srgbClr val="002776"/>
                </a:solidFill>
              </a:rPr>
              <a:t>in PowerPoint</a:t>
            </a:r>
            <a:endParaRPr lang="en-GB" sz="1050" dirty="0">
              <a:solidFill>
                <a:srgbClr val="002776"/>
              </a:solidFill>
            </a:endParaRPr>
          </a:p>
          <a:p>
            <a:pPr marL="169863" indent="-169863">
              <a:spcBef>
                <a:spcPts val="400"/>
              </a:spcBef>
              <a:spcAft>
                <a:spcPts val="400"/>
              </a:spcAft>
              <a:buFont typeface="+mj-lt"/>
              <a:buAutoNum type="arabicPeriod"/>
            </a:pPr>
            <a:r>
              <a:rPr lang="en-GB" sz="1050" dirty="0">
                <a:solidFill>
                  <a:srgbClr val="002776"/>
                </a:solidFill>
              </a:rPr>
              <a:t>Comprehensive issue log in Excel</a:t>
            </a:r>
          </a:p>
          <a:p>
            <a:pPr marL="169863" indent="-169863">
              <a:spcBef>
                <a:spcPts val="400"/>
              </a:spcBef>
              <a:spcAft>
                <a:spcPts val="400"/>
              </a:spcAft>
              <a:buFont typeface="+mj-lt"/>
              <a:buAutoNum type="arabicPeriod"/>
            </a:pPr>
            <a:endParaRPr lang="en-GB" sz="1050" dirty="0">
              <a:solidFill>
                <a:srgbClr val="002776"/>
              </a:solidFill>
            </a:endParaRPr>
          </a:p>
        </p:txBody>
      </p:sp>
    </p:spTree>
    <p:extLst>
      <p:ext uri="{BB962C8B-B14F-4D97-AF65-F5344CB8AC3E}">
        <p14:creationId xmlns:p14="http://schemas.microsoft.com/office/powerpoint/2010/main" val="3380420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ols and Templates</a:t>
            </a:r>
            <a:br>
              <a:rPr lang="en-US" sz="2400" dirty="0"/>
            </a:br>
            <a:r>
              <a:rPr lang="en-GB" sz="1800" b="0" dirty="0"/>
              <a:t>To easily implement our 7-phase approach, </a:t>
            </a:r>
            <a:r>
              <a:rPr lang="en-GB" sz="1800" b="0"/>
              <a:t>we </a:t>
            </a:r>
            <a:r>
              <a:rPr lang="en-GB" sz="1800" b="0" dirty="0"/>
              <a:t>have</a:t>
            </a:r>
            <a:r>
              <a:rPr lang="en-GB" sz="1800" b="0"/>
              <a:t> created multiple tools in PowerPoint and Excel that can </a:t>
            </a:r>
            <a:r>
              <a:rPr lang="en-GB" sz="1800" b="0" dirty="0"/>
              <a:t>be used for </a:t>
            </a:r>
            <a:r>
              <a:rPr lang="en-GB" sz="1800" b="0"/>
              <a:t>both your company </a:t>
            </a:r>
            <a:r>
              <a:rPr lang="en-GB" sz="1800" b="0" dirty="0"/>
              <a:t>or a specific projec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2" name="Picture 1">
            <a:extLst>
              <a:ext uri="{FF2B5EF4-FFF2-40B4-BE49-F238E27FC236}">
                <a16:creationId xmlns:a16="http://schemas.microsoft.com/office/drawing/2014/main" id="{1DA5F61D-EB4C-4AA9-AE88-73E43AB366BF}"/>
              </a:ext>
            </a:extLst>
          </p:cNvPr>
          <p:cNvPicPr>
            <a:picLocks noChangeAspect="1"/>
          </p:cNvPicPr>
          <p:nvPr/>
        </p:nvPicPr>
        <p:blipFill>
          <a:blip r:embed="rId6"/>
          <a:stretch>
            <a:fillRect/>
          </a:stretch>
        </p:blipFill>
        <p:spPr>
          <a:xfrm>
            <a:off x="609336" y="1963734"/>
            <a:ext cx="3191943" cy="1795468"/>
          </a:xfrm>
          <a:prstGeom prst="rect">
            <a:avLst/>
          </a:prstGeom>
          <a:ln>
            <a:noFill/>
          </a:ln>
          <a:effectLst>
            <a:outerShdw blurRad="292100" dist="139700" dir="2700000" algn="tl" rotWithShape="0">
              <a:srgbClr val="333333">
                <a:alpha val="65000"/>
              </a:srgbClr>
            </a:outerShdw>
          </a:effectLst>
        </p:spPr>
      </p:pic>
      <p:pic>
        <p:nvPicPr>
          <p:cNvPr id="21" name="Picture 2">
            <a:extLst>
              <a:ext uri="{FF2B5EF4-FFF2-40B4-BE49-F238E27FC236}">
                <a16:creationId xmlns:a16="http://schemas.microsoft.com/office/drawing/2014/main" id="{FF48A234-9C94-4139-9F87-1B20DFD1A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44231" y="1817673"/>
            <a:ext cx="314095" cy="2921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9CFADA7-81ED-42E7-B2C3-BBD90569DA2A}"/>
              </a:ext>
            </a:extLst>
          </p:cNvPr>
          <p:cNvPicPr>
            <a:picLocks noChangeAspect="1"/>
          </p:cNvPicPr>
          <p:nvPr/>
        </p:nvPicPr>
        <p:blipFill>
          <a:blip r:embed="rId8"/>
          <a:stretch>
            <a:fillRect/>
          </a:stretch>
        </p:blipFill>
        <p:spPr>
          <a:xfrm>
            <a:off x="4499200" y="1963733"/>
            <a:ext cx="3193600" cy="1796400"/>
          </a:xfrm>
          <a:prstGeom prst="rect">
            <a:avLst/>
          </a:prstGeom>
          <a:ln>
            <a:noFill/>
          </a:ln>
          <a:effectLst>
            <a:outerShdw blurRad="292100" dist="139700" dir="2700000" algn="tl" rotWithShape="0">
              <a:srgbClr val="333333">
                <a:alpha val="65000"/>
              </a:srgbClr>
            </a:outerShdw>
          </a:effectLst>
        </p:spPr>
      </p:pic>
      <p:pic>
        <p:nvPicPr>
          <p:cNvPr id="23" name="Picture 2">
            <a:extLst>
              <a:ext uri="{FF2B5EF4-FFF2-40B4-BE49-F238E27FC236}">
                <a16:creationId xmlns:a16="http://schemas.microsoft.com/office/drawing/2014/main" id="{905EF37F-EAC2-4C83-AB92-A6DDA37087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5752" y="1817673"/>
            <a:ext cx="314095" cy="2921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68FA227-5ED8-4D6D-A094-6124C40CF721}"/>
              </a:ext>
            </a:extLst>
          </p:cNvPr>
          <p:cNvSpPr txBox="1"/>
          <p:nvPr/>
        </p:nvSpPr>
        <p:spPr>
          <a:xfrm>
            <a:off x="648923" y="1628878"/>
            <a:ext cx="3230880" cy="307777"/>
          </a:xfrm>
          <a:prstGeom prst="rect">
            <a:avLst/>
          </a:prstGeom>
          <a:noFill/>
        </p:spPr>
        <p:txBody>
          <a:bodyPr wrap="square" rtlCol="0">
            <a:spAutoFit/>
          </a:bodyPr>
          <a:lstStyle/>
          <a:p>
            <a:pPr algn="ctr"/>
            <a:r>
              <a:rPr lang="en-GB" sz="1400" b="1" dirty="0"/>
              <a:t>Simple Risk Log</a:t>
            </a:r>
            <a:endParaRPr lang="en-AU" sz="1400" b="1" dirty="0"/>
          </a:p>
        </p:txBody>
      </p:sp>
      <p:sp>
        <p:nvSpPr>
          <p:cNvPr id="25" name="TextBox 24">
            <a:extLst>
              <a:ext uri="{FF2B5EF4-FFF2-40B4-BE49-F238E27FC236}">
                <a16:creationId xmlns:a16="http://schemas.microsoft.com/office/drawing/2014/main" id="{3F67EFDE-ED88-458C-9546-D151580656D9}"/>
              </a:ext>
            </a:extLst>
          </p:cNvPr>
          <p:cNvSpPr txBox="1"/>
          <p:nvPr/>
        </p:nvSpPr>
        <p:spPr>
          <a:xfrm>
            <a:off x="4452957" y="1628878"/>
            <a:ext cx="3230880" cy="307777"/>
          </a:xfrm>
          <a:prstGeom prst="rect">
            <a:avLst/>
          </a:prstGeom>
          <a:noFill/>
        </p:spPr>
        <p:txBody>
          <a:bodyPr wrap="square" rtlCol="0">
            <a:spAutoFit/>
          </a:bodyPr>
          <a:lstStyle/>
          <a:p>
            <a:pPr algn="ctr"/>
            <a:r>
              <a:rPr lang="en-GB" sz="1400" b="1" dirty="0"/>
              <a:t>Simple Issue Log</a:t>
            </a:r>
            <a:endParaRPr lang="en-AU" sz="1400" b="1" dirty="0"/>
          </a:p>
        </p:txBody>
      </p:sp>
      <p:sp>
        <p:nvSpPr>
          <p:cNvPr id="27" name="TextBox 26">
            <a:extLst>
              <a:ext uri="{FF2B5EF4-FFF2-40B4-BE49-F238E27FC236}">
                <a16:creationId xmlns:a16="http://schemas.microsoft.com/office/drawing/2014/main" id="{2B18C102-13BF-420F-BFD4-E9ACBCCAC2EC}"/>
              </a:ext>
            </a:extLst>
          </p:cNvPr>
          <p:cNvSpPr txBox="1"/>
          <p:nvPr/>
        </p:nvSpPr>
        <p:spPr>
          <a:xfrm>
            <a:off x="1494873" y="4152460"/>
            <a:ext cx="3230880" cy="307777"/>
          </a:xfrm>
          <a:prstGeom prst="rect">
            <a:avLst/>
          </a:prstGeom>
          <a:noFill/>
        </p:spPr>
        <p:txBody>
          <a:bodyPr wrap="square" rtlCol="0">
            <a:spAutoFit/>
          </a:bodyPr>
          <a:lstStyle/>
          <a:p>
            <a:pPr algn="ctr"/>
            <a:r>
              <a:rPr lang="en-GB" sz="1400" b="1" dirty="0"/>
              <a:t>Comprehensive Risk Log</a:t>
            </a:r>
            <a:endParaRPr lang="en-AU" sz="1400" b="1" dirty="0"/>
          </a:p>
        </p:txBody>
      </p:sp>
      <p:sp>
        <p:nvSpPr>
          <p:cNvPr id="28" name="TextBox 27">
            <a:extLst>
              <a:ext uri="{FF2B5EF4-FFF2-40B4-BE49-F238E27FC236}">
                <a16:creationId xmlns:a16="http://schemas.microsoft.com/office/drawing/2014/main" id="{FAB02ACD-2C6A-416F-86EE-D86E47E909A4}"/>
              </a:ext>
            </a:extLst>
          </p:cNvPr>
          <p:cNvSpPr txBox="1"/>
          <p:nvPr/>
        </p:nvSpPr>
        <p:spPr>
          <a:xfrm>
            <a:off x="7613135" y="4152460"/>
            <a:ext cx="3230880" cy="307777"/>
          </a:xfrm>
          <a:prstGeom prst="rect">
            <a:avLst/>
          </a:prstGeom>
          <a:noFill/>
        </p:spPr>
        <p:txBody>
          <a:bodyPr wrap="square" rtlCol="0">
            <a:spAutoFit/>
          </a:bodyPr>
          <a:lstStyle/>
          <a:p>
            <a:pPr algn="ctr"/>
            <a:r>
              <a:rPr lang="en-GB" sz="1400" b="1" dirty="0"/>
              <a:t>Dashboard</a:t>
            </a:r>
            <a:endParaRPr lang="en-AU" sz="1400" b="1" dirty="0"/>
          </a:p>
        </p:txBody>
      </p:sp>
      <p:pic>
        <p:nvPicPr>
          <p:cNvPr id="4" name="Picture 3">
            <a:extLst>
              <a:ext uri="{FF2B5EF4-FFF2-40B4-BE49-F238E27FC236}">
                <a16:creationId xmlns:a16="http://schemas.microsoft.com/office/drawing/2014/main" id="{67DAE8D9-2075-4279-BEF2-19612BB374DD}"/>
              </a:ext>
            </a:extLst>
          </p:cNvPr>
          <p:cNvPicPr>
            <a:picLocks noChangeAspect="1"/>
          </p:cNvPicPr>
          <p:nvPr/>
        </p:nvPicPr>
        <p:blipFill>
          <a:blip r:embed="rId9"/>
          <a:stretch>
            <a:fillRect/>
          </a:stretch>
        </p:blipFill>
        <p:spPr>
          <a:xfrm>
            <a:off x="8221962" y="1948951"/>
            <a:ext cx="3193600" cy="1796400"/>
          </a:xfrm>
          <a:prstGeom prst="rect">
            <a:avLst/>
          </a:prstGeom>
          <a:ln>
            <a:noFill/>
          </a:ln>
          <a:effectLst>
            <a:outerShdw blurRad="292100" dist="139700" dir="2700000" algn="tl" rotWithShape="0">
              <a:srgbClr val="333333">
                <a:alpha val="65000"/>
              </a:srgbClr>
            </a:outerShdw>
          </a:effectLst>
        </p:spPr>
      </p:pic>
      <p:pic>
        <p:nvPicPr>
          <p:cNvPr id="17" name="Picture 2">
            <a:extLst>
              <a:ext uri="{FF2B5EF4-FFF2-40B4-BE49-F238E27FC236}">
                <a16:creationId xmlns:a16="http://schemas.microsoft.com/office/drawing/2014/main" id="{A6F0A4F3-3DEB-4AC0-A25A-AB851C8A9F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514" y="1817673"/>
            <a:ext cx="314095" cy="29211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7A76E8F9-DBF2-417D-8099-1BF8609451EA}"/>
              </a:ext>
            </a:extLst>
          </p:cNvPr>
          <p:cNvSpPr txBox="1"/>
          <p:nvPr/>
        </p:nvSpPr>
        <p:spPr>
          <a:xfrm>
            <a:off x="8062280" y="1628878"/>
            <a:ext cx="3602995" cy="307777"/>
          </a:xfrm>
          <a:prstGeom prst="rect">
            <a:avLst/>
          </a:prstGeom>
          <a:noFill/>
        </p:spPr>
        <p:txBody>
          <a:bodyPr wrap="square" rtlCol="0">
            <a:spAutoFit/>
          </a:bodyPr>
          <a:lstStyle/>
          <a:p>
            <a:pPr algn="ctr"/>
            <a:r>
              <a:rPr lang="en-GB" sz="1400" b="1" dirty="0"/>
              <a:t>Risk Prioritization Matrix</a:t>
            </a:r>
            <a:endParaRPr lang="en-AU" sz="1400" b="1" dirty="0"/>
          </a:p>
        </p:txBody>
      </p:sp>
      <p:pic>
        <p:nvPicPr>
          <p:cNvPr id="8" name="Picture 7">
            <a:extLst>
              <a:ext uri="{FF2B5EF4-FFF2-40B4-BE49-F238E27FC236}">
                <a16:creationId xmlns:a16="http://schemas.microsoft.com/office/drawing/2014/main" id="{B3E7ECF1-9BCA-437D-B0F9-889519826157}"/>
              </a:ext>
            </a:extLst>
          </p:cNvPr>
          <p:cNvPicPr>
            <a:picLocks noChangeAspect="1"/>
          </p:cNvPicPr>
          <p:nvPr/>
        </p:nvPicPr>
        <p:blipFill>
          <a:blip r:embed="rId10"/>
          <a:stretch>
            <a:fillRect/>
          </a:stretch>
        </p:blipFill>
        <p:spPr>
          <a:xfrm>
            <a:off x="514350" y="4560771"/>
            <a:ext cx="5329682" cy="1414236"/>
          </a:xfrm>
          <a:prstGeom prst="rect">
            <a:avLst/>
          </a:prstGeom>
          <a:ln>
            <a:noFill/>
          </a:ln>
          <a:effectLst>
            <a:outerShdw blurRad="292100" dist="139700" dir="2700000" algn="tl" rotWithShape="0">
              <a:srgbClr val="333333">
                <a:alpha val="65000"/>
              </a:srgbClr>
            </a:outerShdw>
          </a:effectLst>
        </p:spPr>
      </p:pic>
      <p:pic>
        <p:nvPicPr>
          <p:cNvPr id="18" name="Picture 6" descr="Download Microsoft Excel Logo in SVG Vector or PNG File Format - Logo.wine">
            <a:extLst>
              <a:ext uri="{FF2B5EF4-FFF2-40B4-BE49-F238E27FC236}">
                <a16:creationId xmlns:a16="http://schemas.microsoft.com/office/drawing/2014/main" id="{ABF70950-373B-4860-A32C-8C77DF6844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77595" y="4355324"/>
            <a:ext cx="499831" cy="3332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6A9D84F-CC07-48D2-8A1A-2019AB77FEBA}"/>
              </a:ext>
            </a:extLst>
          </p:cNvPr>
          <p:cNvPicPr>
            <a:picLocks noChangeAspect="1"/>
          </p:cNvPicPr>
          <p:nvPr/>
        </p:nvPicPr>
        <p:blipFill>
          <a:blip r:embed="rId12"/>
          <a:stretch>
            <a:fillRect/>
          </a:stretch>
        </p:blipFill>
        <p:spPr>
          <a:xfrm>
            <a:off x="6582100" y="4464416"/>
            <a:ext cx="4926329" cy="1771060"/>
          </a:xfrm>
          <a:prstGeom prst="rect">
            <a:avLst/>
          </a:prstGeom>
          <a:ln>
            <a:noFill/>
          </a:ln>
          <a:effectLst>
            <a:outerShdw blurRad="292100" dist="139700" dir="2700000" algn="tl" rotWithShape="0">
              <a:srgbClr val="333333">
                <a:alpha val="65000"/>
              </a:srgbClr>
            </a:outerShdw>
          </a:effectLst>
        </p:spPr>
      </p:pic>
      <p:pic>
        <p:nvPicPr>
          <p:cNvPr id="19" name="Picture 6" descr="Download Microsoft Excel Logo in SVG Vector or PNG File Format - Logo.wine">
            <a:extLst>
              <a:ext uri="{FF2B5EF4-FFF2-40B4-BE49-F238E27FC236}">
                <a16:creationId xmlns:a16="http://schemas.microsoft.com/office/drawing/2014/main" id="{82F420D3-8691-4D2C-8956-0946AE2DDC4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58514" y="4291279"/>
            <a:ext cx="499831" cy="333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677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71</TotalTime>
  <Words>4037</Words>
  <Application>Microsoft Office PowerPoint</Application>
  <PresentationFormat>Widescreen</PresentationFormat>
  <Paragraphs>589</Paragraphs>
  <Slides>37</Slides>
  <Notes>25</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37</vt:i4>
      </vt:variant>
    </vt:vector>
  </HeadingPairs>
  <TitlesOfParts>
    <vt:vector size="54" baseType="lpstr">
      <vt:lpstr>Arial</vt:lpstr>
      <vt:lpstr>Arial (Body)</vt:lpstr>
      <vt:lpstr>Calibri</vt:lpstr>
      <vt:lpstr>Helvetica</vt:lpstr>
      <vt:lpstr>Wingdings</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Slide</vt:lpstr>
      <vt:lpstr>Risk Management Toolkit Overview and Approach</vt:lpstr>
      <vt:lpstr>Key Definitions</vt:lpstr>
      <vt:lpstr>Context and objectives of having a clear risk management approach</vt:lpstr>
      <vt:lpstr>Benefits of risk management</vt:lpstr>
      <vt:lpstr>Content The Risk Management Toolkit was created by ex-McKinsey, Deloitte, and BCG management consultants specializing in risk management. It includes 7 components.</vt:lpstr>
      <vt:lpstr>Objectives The Risk Management Toolkit includes frameworks, tools, templates, tutorials, real-life examples, and best practices to help you:</vt:lpstr>
      <vt:lpstr>Scope of the Risk Management Toolkit</vt:lpstr>
      <vt:lpstr>Approach Our Risk Management Toolkit includes a simple 7-phase approach, which can be used to manage the risks and issues of a company or a project</vt:lpstr>
      <vt:lpstr>Tools and Templates To easily implement our 7-phase approach, we have created multiple tools in PowerPoint and Excel that can be used for both your company or a specific project</vt:lpstr>
      <vt:lpstr>In the next slides, you’ll see a small preview of Phase I</vt:lpstr>
      <vt:lpstr>Introduction</vt:lpstr>
      <vt:lpstr>What do we mean by risk appetite?</vt:lpstr>
      <vt:lpstr>What are the benefits of defining risk appetite?</vt:lpstr>
      <vt:lpstr>Risk appetite scale</vt:lpstr>
      <vt:lpstr>Risk appetite scale</vt:lpstr>
      <vt:lpstr>Following multiple interviews and workshops, we assessed that the risk appetite of our organization was high [insert your own rating]</vt:lpstr>
      <vt:lpstr>See below 4 screenshots from Phase I. </vt:lpstr>
      <vt:lpstr>In the next slides, you’ll see a small preview of Phase II</vt:lpstr>
      <vt:lpstr>Simple risk log Description</vt:lpstr>
      <vt:lpstr>Simple risk log 3-level rating</vt:lpstr>
      <vt:lpstr>Comprehensive risk log Description</vt:lpstr>
      <vt:lpstr>In the next slides, you’ll see a small preview of Phase III</vt:lpstr>
      <vt:lpstr>By multiplying the “Probability” dimension by the “Impact” dimension, we will get our “Risk Value”</vt:lpstr>
      <vt:lpstr>To assess the probability of a risk happening, we can use a 3-level or 5-level rating depending on our needs</vt:lpstr>
      <vt:lpstr>In the next slides, you’ll see a small preview of Phase IV</vt:lpstr>
      <vt:lpstr>See below 1 screenshot from Phase IV </vt:lpstr>
      <vt:lpstr>In the next slides, you’ll see a small preview of Phase V</vt:lpstr>
      <vt:lpstr>We identified 6 types of mitigation strategies</vt:lpstr>
      <vt:lpstr>We will define and implement our mitigation strategies by using our comprehensive risk log in Excel</vt:lpstr>
      <vt:lpstr>We will monitor the implementation of our mitigation strategies by leveraging our dashboard in Excel, which will automatically be updated based on the input we make in the risk log</vt:lpstr>
      <vt:lpstr>Structure of the Toolkit The Risk Management Toolkit includes 100 PowerPoint slides and 10 Excel sheets that you can download on your device immediately after your purchase.</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Need additional help on top of our Management Consulting Toolkits?  Send us a brief and we’ll find you the right talent from our network of 500 tier-1 Management Consultants (the average daily rate is $3k)</vt:lpstr>
      <vt:lpstr>This was just a small pre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2-12-07T03:09:1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